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1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1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8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drawings/drawing1.xml" ContentType="application/vnd.openxmlformats-officedocument.drawingml.chartshape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.xml" ContentType="application/vnd.openxmlformats-officedocument.themeOverr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27" r:id="rId3"/>
    <p:sldMasterId id="2147483957" r:id="rId4"/>
    <p:sldMasterId id="2147484001" r:id="rId5"/>
    <p:sldMasterId id="2147484029" r:id="rId6"/>
    <p:sldMasterId id="2147484131" r:id="rId7"/>
    <p:sldMasterId id="2147484154" r:id="rId8"/>
    <p:sldMasterId id="2147484161" r:id="rId9"/>
    <p:sldMasterId id="2147484174" r:id="rId10"/>
    <p:sldMasterId id="2147484197" r:id="rId11"/>
    <p:sldMasterId id="2147484205" r:id="rId12"/>
  </p:sldMasterIdLst>
  <p:notesMasterIdLst>
    <p:notesMasterId r:id="rId76"/>
  </p:notesMasterIdLst>
  <p:sldIdLst>
    <p:sldId id="765" r:id="rId13"/>
    <p:sldId id="2070" r:id="rId14"/>
    <p:sldId id="2071" r:id="rId15"/>
    <p:sldId id="2072" r:id="rId16"/>
    <p:sldId id="2073" r:id="rId17"/>
    <p:sldId id="2074" r:id="rId18"/>
    <p:sldId id="2075" r:id="rId19"/>
    <p:sldId id="2076" r:id="rId20"/>
    <p:sldId id="2077" r:id="rId21"/>
    <p:sldId id="2078" r:id="rId22"/>
    <p:sldId id="1888" r:id="rId23"/>
    <p:sldId id="1889" r:id="rId24"/>
    <p:sldId id="1969" r:id="rId25"/>
    <p:sldId id="2010" r:id="rId26"/>
    <p:sldId id="2024" r:id="rId27"/>
    <p:sldId id="2079" r:id="rId28"/>
    <p:sldId id="2025" r:id="rId29"/>
    <p:sldId id="2080" r:id="rId30"/>
    <p:sldId id="1915" r:id="rId31"/>
    <p:sldId id="2081" r:id="rId32"/>
    <p:sldId id="2013" r:id="rId33"/>
    <p:sldId id="2014" r:id="rId34"/>
    <p:sldId id="2082" r:id="rId35"/>
    <p:sldId id="2068" r:id="rId36"/>
    <p:sldId id="1794" r:id="rId37"/>
    <p:sldId id="1987" r:id="rId38"/>
    <p:sldId id="1988" r:id="rId39"/>
    <p:sldId id="1989" r:id="rId40"/>
    <p:sldId id="2021" r:id="rId41"/>
    <p:sldId id="2022" r:id="rId42"/>
    <p:sldId id="2023" r:id="rId43"/>
    <p:sldId id="2069" r:id="rId44"/>
    <p:sldId id="2017" r:id="rId45"/>
    <p:sldId id="2018" r:id="rId46"/>
    <p:sldId id="2019" r:id="rId47"/>
    <p:sldId id="2020" r:id="rId48"/>
    <p:sldId id="2028" r:id="rId49"/>
    <p:sldId id="2056" r:id="rId50"/>
    <p:sldId id="2057" r:id="rId51"/>
    <p:sldId id="2059" r:id="rId52"/>
    <p:sldId id="2083" r:id="rId53"/>
    <p:sldId id="2084" r:id="rId54"/>
    <p:sldId id="2029" r:id="rId55"/>
    <p:sldId id="2030" r:id="rId56"/>
    <p:sldId id="2055" r:id="rId57"/>
    <p:sldId id="2032" r:id="rId58"/>
    <p:sldId id="2034" r:id="rId59"/>
    <p:sldId id="2035" r:id="rId60"/>
    <p:sldId id="2036" r:id="rId61"/>
    <p:sldId id="2037" r:id="rId62"/>
    <p:sldId id="2039" r:id="rId63"/>
    <p:sldId id="2040" r:id="rId64"/>
    <p:sldId id="2042" r:id="rId65"/>
    <p:sldId id="2043" r:id="rId66"/>
    <p:sldId id="2047" r:id="rId67"/>
    <p:sldId id="2044" r:id="rId68"/>
    <p:sldId id="2045" r:id="rId69"/>
    <p:sldId id="2049" r:id="rId70"/>
    <p:sldId id="2050" r:id="rId71"/>
    <p:sldId id="2051" r:id="rId72"/>
    <p:sldId id="2053" r:id="rId73"/>
    <p:sldId id="2054" r:id="rId74"/>
    <p:sldId id="1985" r:id="rId75"/>
  </p:sldIdLst>
  <p:sldSz cx="12192000" cy="6858000"/>
  <p:notesSz cx="6858000" cy="9144000"/>
  <p:custDataLst>
    <p:tags r:id="rId7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CCFF"/>
    <a:srgbClr val="00FF00"/>
    <a:srgbClr val="FFFFFF"/>
    <a:srgbClr val="305983"/>
    <a:srgbClr val="F7E7E9"/>
    <a:srgbClr val="D31145"/>
    <a:srgbClr val="E7F6EA"/>
    <a:srgbClr val="92D050"/>
    <a:srgbClr val="00CD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68" autoAdjust="0"/>
    <p:restoredTop sz="93721" autoAdjust="0"/>
  </p:normalViewPr>
  <p:slideViewPr>
    <p:cSldViewPr snapToGrid="0">
      <p:cViewPr varScale="1">
        <p:scale>
          <a:sx n="104" d="100"/>
          <a:sy n="104" d="100"/>
        </p:scale>
        <p:origin x="1212" y="108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slide" Target="slides/slide51.xml"/><Relationship Id="rId68" Type="http://schemas.openxmlformats.org/officeDocument/2006/relationships/slide" Target="slides/slide56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slide" Target="slides/slide54.xml"/><Relationship Id="rId74" Type="http://schemas.openxmlformats.org/officeDocument/2006/relationships/slide" Target="slides/slide62.xml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9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73" Type="http://schemas.openxmlformats.org/officeDocument/2006/relationships/slide" Target="slides/slide61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slide" Target="slides/slide52.xml"/><Relationship Id="rId69" Type="http://schemas.openxmlformats.org/officeDocument/2006/relationships/slide" Target="slides/slide57.xml"/><Relationship Id="rId77" Type="http://schemas.openxmlformats.org/officeDocument/2006/relationships/tags" Target="tags/tag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72" Type="http://schemas.openxmlformats.org/officeDocument/2006/relationships/slide" Target="slides/slide60.xml"/><Relationship Id="rId80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slide" Target="slides/slide55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openxmlformats.org/officeDocument/2006/relationships/slide" Target="slides/slide58.xml"/><Relationship Id="rId75" Type="http://schemas.openxmlformats.org/officeDocument/2006/relationships/slide" Target="slides/slide6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chartUserShapes" Target="../drawings/drawing1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List_aplikace_Microsoft_Excel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3:$A$164</c:f>
              <c:numCache>
                <c:formatCode>m/d/yyyy</c:formatCode>
                <c:ptCount val="102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</c:numCache>
            </c:numRef>
          </c:cat>
          <c:val>
            <c:numRef>
              <c:f>Sheet1!$B$63:$B$164</c:f>
              <c:numCache>
                <c:formatCode>General</c:formatCode>
                <c:ptCount val="102"/>
                <c:pt idx="0">
                  <c:v>3446</c:v>
                </c:pt>
                <c:pt idx="1">
                  <c:v>4985</c:v>
                </c:pt>
                <c:pt idx="2">
                  <c:v>6267</c:v>
                </c:pt>
                <c:pt idx="3">
                  <c:v>12955</c:v>
                </c:pt>
                <c:pt idx="4">
                  <c:v>17399</c:v>
                </c:pt>
                <c:pt idx="5">
                  <c:v>17770</c:v>
                </c:pt>
                <c:pt idx="6">
                  <c:v>14882</c:v>
                </c:pt>
                <c:pt idx="7">
                  <c:v>13099</c:v>
                </c:pt>
                <c:pt idx="8">
                  <c:v>8437</c:v>
                </c:pt>
                <c:pt idx="9">
                  <c:v>4312</c:v>
                </c:pt>
                <c:pt idx="10">
                  <c:v>9384</c:v>
                </c:pt>
                <c:pt idx="11">
                  <c:v>10810</c:v>
                </c:pt>
                <c:pt idx="12">
                  <c:v>10918</c:v>
                </c:pt>
                <c:pt idx="13">
                  <c:v>8087</c:v>
                </c:pt>
                <c:pt idx="14">
                  <c:v>9300</c:v>
                </c:pt>
                <c:pt idx="15">
                  <c:v>5241</c:v>
                </c:pt>
                <c:pt idx="16">
                  <c:v>2641</c:v>
                </c:pt>
                <c:pt idx="17">
                  <c:v>7668</c:v>
                </c:pt>
                <c:pt idx="18">
                  <c:v>9609</c:v>
                </c:pt>
                <c:pt idx="19">
                  <c:v>8215</c:v>
                </c:pt>
                <c:pt idx="20">
                  <c:v>7532</c:v>
                </c:pt>
                <c:pt idx="21">
                  <c:v>8467</c:v>
                </c:pt>
                <c:pt idx="22">
                  <c:v>4239</c:v>
                </c:pt>
                <c:pt idx="23">
                  <c:v>2394</c:v>
                </c:pt>
                <c:pt idx="24">
                  <c:v>6974</c:v>
                </c:pt>
                <c:pt idx="25">
                  <c:v>9194</c:v>
                </c:pt>
                <c:pt idx="26">
                  <c:v>8503</c:v>
                </c:pt>
                <c:pt idx="27">
                  <c:v>8010</c:v>
                </c:pt>
                <c:pt idx="28">
                  <c:v>8052</c:v>
                </c:pt>
                <c:pt idx="29">
                  <c:v>4055</c:v>
                </c:pt>
                <c:pt idx="30">
                  <c:v>2573</c:v>
                </c:pt>
                <c:pt idx="31">
                  <c:v>7217</c:v>
                </c:pt>
                <c:pt idx="32">
                  <c:v>9148</c:v>
                </c:pt>
                <c:pt idx="33">
                  <c:v>9666</c:v>
                </c:pt>
                <c:pt idx="34">
                  <c:v>8107</c:v>
                </c:pt>
                <c:pt idx="35">
                  <c:v>8622</c:v>
                </c:pt>
                <c:pt idx="36">
                  <c:v>4820</c:v>
                </c:pt>
                <c:pt idx="37">
                  <c:v>2451</c:v>
                </c:pt>
                <c:pt idx="38">
                  <c:v>7779</c:v>
                </c:pt>
                <c:pt idx="39">
                  <c:v>10283</c:v>
                </c:pt>
                <c:pt idx="40">
                  <c:v>9538</c:v>
                </c:pt>
                <c:pt idx="41">
                  <c:v>9017</c:v>
                </c:pt>
                <c:pt idx="42">
                  <c:v>8828</c:v>
                </c:pt>
                <c:pt idx="43">
                  <c:v>5141</c:v>
                </c:pt>
                <c:pt idx="44">
                  <c:v>2881</c:v>
                </c:pt>
                <c:pt idx="45">
                  <c:v>8905</c:v>
                </c:pt>
                <c:pt idx="46">
                  <c:v>12609</c:v>
                </c:pt>
                <c:pt idx="47">
                  <c:v>10938</c:v>
                </c:pt>
                <c:pt idx="48">
                  <c:v>11702</c:v>
                </c:pt>
                <c:pt idx="49">
                  <c:v>11287</c:v>
                </c:pt>
                <c:pt idx="50">
                  <c:v>6775</c:v>
                </c:pt>
                <c:pt idx="51">
                  <c:v>4068</c:v>
                </c:pt>
                <c:pt idx="52">
                  <c:v>11408</c:v>
                </c:pt>
                <c:pt idx="53">
                  <c:v>15841</c:v>
                </c:pt>
                <c:pt idx="54">
                  <c:v>13795</c:v>
                </c:pt>
                <c:pt idx="55">
                  <c:v>14588</c:v>
                </c:pt>
                <c:pt idx="56">
                  <c:v>14776</c:v>
                </c:pt>
                <c:pt idx="57">
                  <c:v>7823</c:v>
                </c:pt>
                <c:pt idx="58">
                  <c:v>4587</c:v>
                </c:pt>
                <c:pt idx="59">
                  <c:v>12322</c:v>
                </c:pt>
                <c:pt idx="60">
                  <c:v>16777</c:v>
                </c:pt>
                <c:pt idx="61">
                  <c:v>15239</c:v>
                </c:pt>
                <c:pt idx="62">
                  <c:v>14649</c:v>
                </c:pt>
                <c:pt idx="63">
                  <c:v>13169</c:v>
                </c:pt>
                <c:pt idx="64">
                  <c:v>9130</c:v>
                </c:pt>
                <c:pt idx="65">
                  <c:v>3982</c:v>
                </c:pt>
                <c:pt idx="66">
                  <c:v>10653</c:v>
                </c:pt>
                <c:pt idx="67">
                  <c:v>15357</c:v>
                </c:pt>
                <c:pt idx="68">
                  <c:v>14535</c:v>
                </c:pt>
                <c:pt idx="69">
                  <c:v>11242</c:v>
                </c:pt>
                <c:pt idx="70">
                  <c:v>14957</c:v>
                </c:pt>
                <c:pt idx="71">
                  <c:v>6956</c:v>
                </c:pt>
                <c:pt idx="72">
                  <c:v>3331</c:v>
                </c:pt>
                <c:pt idx="73">
                  <c:v>10628</c:v>
                </c:pt>
                <c:pt idx="74">
                  <c:v>14027</c:v>
                </c:pt>
                <c:pt idx="75">
                  <c:v>12025</c:v>
                </c:pt>
                <c:pt idx="76">
                  <c:v>10656</c:v>
                </c:pt>
                <c:pt idx="77">
                  <c:v>9708</c:v>
                </c:pt>
                <c:pt idx="78">
                  <c:v>5466</c:v>
                </c:pt>
                <c:pt idx="79">
                  <c:v>2388</c:v>
                </c:pt>
                <c:pt idx="80">
                  <c:v>8240</c:v>
                </c:pt>
                <c:pt idx="81">
                  <c:v>10969</c:v>
                </c:pt>
                <c:pt idx="82">
                  <c:v>8845</c:v>
                </c:pt>
                <c:pt idx="83">
                  <c:v>7923</c:v>
                </c:pt>
                <c:pt idx="84">
                  <c:v>7709</c:v>
                </c:pt>
                <c:pt idx="85">
                  <c:v>3969</c:v>
                </c:pt>
                <c:pt idx="86">
                  <c:v>1743</c:v>
                </c:pt>
                <c:pt idx="87">
                  <c:v>6933</c:v>
                </c:pt>
                <c:pt idx="88">
                  <c:v>8629</c:v>
                </c:pt>
                <c:pt idx="89">
                  <c:v>7255</c:v>
                </c:pt>
                <c:pt idx="90">
                  <c:v>6243</c:v>
                </c:pt>
                <c:pt idx="91">
                  <c:v>3829</c:v>
                </c:pt>
                <c:pt idx="92">
                  <c:v>2158</c:v>
                </c:pt>
                <c:pt idx="93">
                  <c:v>1922</c:v>
                </c:pt>
                <c:pt idx="94">
                  <c:v>1414</c:v>
                </c:pt>
                <c:pt idx="95">
                  <c:v>5566</c:v>
                </c:pt>
                <c:pt idx="96">
                  <c:v>7015</c:v>
                </c:pt>
                <c:pt idx="97">
                  <c:v>5270</c:v>
                </c:pt>
                <c:pt idx="98">
                  <c:v>4805</c:v>
                </c:pt>
                <c:pt idx="99">
                  <c:v>2198</c:v>
                </c:pt>
                <c:pt idx="100">
                  <c:v>976</c:v>
                </c:pt>
                <c:pt idx="101">
                  <c:v>38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72</c:v>
                </c:pt>
                <c:pt idx="1">
                  <c:v>8454</c:v>
                </c:pt>
                <c:pt idx="2">
                  <c:v>8396</c:v>
                </c:pt>
                <c:pt idx="3">
                  <c:v>8399</c:v>
                </c:pt>
                <c:pt idx="4">
                  <c:v>8457</c:v>
                </c:pt>
                <c:pt idx="5">
                  <c:v>8111</c:v>
                </c:pt>
                <c:pt idx="6">
                  <c:v>8338</c:v>
                </c:pt>
                <c:pt idx="7">
                  <c:v>9012</c:v>
                </c:pt>
                <c:pt idx="8">
                  <c:v>8983</c:v>
                </c:pt>
                <c:pt idx="9">
                  <c:v>9005</c:v>
                </c:pt>
                <c:pt idx="10">
                  <c:v>8967</c:v>
                </c:pt>
                <c:pt idx="11">
                  <c:v>8939</c:v>
                </c:pt>
                <c:pt idx="12">
                  <c:v>8541</c:v>
                </c:pt>
                <c:pt idx="13">
                  <c:v>8756</c:v>
                </c:pt>
                <c:pt idx="14">
                  <c:v>9472</c:v>
                </c:pt>
                <c:pt idx="15">
                  <c:v>9343</c:v>
                </c:pt>
                <c:pt idx="16">
                  <c:v>9173</c:v>
                </c:pt>
                <c:pt idx="17">
                  <c:v>8968</c:v>
                </c:pt>
                <c:pt idx="18">
                  <c:v>8777</c:v>
                </c:pt>
                <c:pt idx="19">
                  <c:v>8221</c:v>
                </c:pt>
                <c:pt idx="20">
                  <c:v>8337</c:v>
                </c:pt>
                <c:pt idx="21">
                  <c:v>8975</c:v>
                </c:pt>
                <c:pt idx="22">
                  <c:v>8641</c:v>
                </c:pt>
                <c:pt idx="23">
                  <c:v>8321</c:v>
                </c:pt>
                <c:pt idx="24">
                  <c:v>8173</c:v>
                </c:pt>
                <c:pt idx="25">
                  <c:v>8049</c:v>
                </c:pt>
                <c:pt idx="26">
                  <c:v>7536</c:v>
                </c:pt>
                <c:pt idx="27">
                  <c:v>7583</c:v>
                </c:pt>
                <c:pt idx="28">
                  <c:v>8128</c:v>
                </c:pt>
                <c:pt idx="29">
                  <c:v>7848</c:v>
                </c:pt>
                <c:pt idx="30">
                  <c:v>7528</c:v>
                </c:pt>
                <c:pt idx="31">
                  <c:v>7228</c:v>
                </c:pt>
                <c:pt idx="32">
                  <c:v>6385</c:v>
                </c:pt>
                <c:pt idx="33">
                  <c:v>6227</c:v>
                </c:pt>
                <c:pt idx="34">
                  <c:v>6319</c:v>
                </c:pt>
                <c:pt idx="35">
                  <c:v>6390</c:v>
                </c:pt>
                <c:pt idx="36">
                  <c:v>7073</c:v>
                </c:pt>
                <c:pt idx="37">
                  <c:v>6713</c:v>
                </c:pt>
                <c:pt idx="38">
                  <c:v>6217</c:v>
                </c:pt>
                <c:pt idx="39">
                  <c:v>5929</c:v>
                </c:pt>
                <c:pt idx="40">
                  <c:v>533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6</c:v>
                </c:pt>
                <c:pt idx="1">
                  <c:v>8156</c:v>
                </c:pt>
                <c:pt idx="2">
                  <c:v>8156</c:v>
                </c:pt>
                <c:pt idx="3">
                  <c:v>8156</c:v>
                </c:pt>
                <c:pt idx="4">
                  <c:v>8156</c:v>
                </c:pt>
                <c:pt idx="5">
                  <c:v>8156</c:v>
                </c:pt>
                <c:pt idx="6">
                  <c:v>8156</c:v>
                </c:pt>
                <c:pt idx="7">
                  <c:v>8156</c:v>
                </c:pt>
                <c:pt idx="8">
                  <c:v>8156</c:v>
                </c:pt>
                <c:pt idx="9">
                  <c:v>8156</c:v>
                </c:pt>
                <c:pt idx="10">
                  <c:v>8156</c:v>
                </c:pt>
                <c:pt idx="11">
                  <c:v>8156</c:v>
                </c:pt>
                <c:pt idx="12">
                  <c:v>8156</c:v>
                </c:pt>
                <c:pt idx="13">
                  <c:v>8156</c:v>
                </c:pt>
                <c:pt idx="14">
                  <c:v>8156</c:v>
                </c:pt>
                <c:pt idx="15">
                  <c:v>8156</c:v>
                </c:pt>
                <c:pt idx="16">
                  <c:v>8156</c:v>
                </c:pt>
                <c:pt idx="17">
                  <c:v>8156</c:v>
                </c:pt>
                <c:pt idx="18">
                  <c:v>8156</c:v>
                </c:pt>
                <c:pt idx="19">
                  <c:v>8156</c:v>
                </c:pt>
                <c:pt idx="20">
                  <c:v>8156</c:v>
                </c:pt>
                <c:pt idx="21">
                  <c:v>8156</c:v>
                </c:pt>
                <c:pt idx="22">
                  <c:v>8156</c:v>
                </c:pt>
                <c:pt idx="23">
                  <c:v>8156</c:v>
                </c:pt>
                <c:pt idx="24">
                  <c:v>8156</c:v>
                </c:pt>
                <c:pt idx="25">
                  <c:v>8156</c:v>
                </c:pt>
                <c:pt idx="26">
                  <c:v>8156</c:v>
                </c:pt>
                <c:pt idx="27">
                  <c:v>8156</c:v>
                </c:pt>
                <c:pt idx="28">
                  <c:v>8156</c:v>
                </c:pt>
                <c:pt idx="29">
                  <c:v>8156</c:v>
                </c:pt>
                <c:pt idx="30">
                  <c:v>8156</c:v>
                </c:pt>
                <c:pt idx="31">
                  <c:v>8156</c:v>
                </c:pt>
                <c:pt idx="32">
                  <c:v>8156</c:v>
                </c:pt>
                <c:pt idx="33">
                  <c:v>8156</c:v>
                </c:pt>
                <c:pt idx="34">
                  <c:v>8156</c:v>
                </c:pt>
                <c:pt idx="35">
                  <c:v>8156</c:v>
                </c:pt>
                <c:pt idx="36">
                  <c:v>8156</c:v>
                </c:pt>
                <c:pt idx="37">
                  <c:v>8156</c:v>
                </c:pt>
                <c:pt idx="38">
                  <c:v>8156</c:v>
                </c:pt>
                <c:pt idx="39">
                  <c:v>8156</c:v>
                </c:pt>
                <c:pt idx="40">
                  <c:v>8156</c:v>
                </c:pt>
                <c:pt idx="41">
                  <c:v>8156</c:v>
                </c:pt>
                <c:pt idx="42">
                  <c:v>8156</c:v>
                </c:pt>
                <c:pt idx="43">
                  <c:v>8156</c:v>
                </c:pt>
                <c:pt idx="44">
                  <c:v>8156</c:v>
                </c:pt>
                <c:pt idx="45">
                  <c:v>8156</c:v>
                </c:pt>
                <c:pt idx="46">
                  <c:v>8156</c:v>
                </c:pt>
                <c:pt idx="47">
                  <c:v>8156</c:v>
                </c:pt>
                <c:pt idx="48">
                  <c:v>8156</c:v>
                </c:pt>
                <c:pt idx="49">
                  <c:v>8156</c:v>
                </c:pt>
                <c:pt idx="50">
                  <c:v>8156</c:v>
                </c:pt>
                <c:pt idx="51">
                  <c:v>8156</c:v>
                </c:pt>
                <c:pt idx="52">
                  <c:v>8156</c:v>
                </c:pt>
                <c:pt idx="53">
                  <c:v>8156</c:v>
                </c:pt>
                <c:pt idx="54">
                  <c:v>8156</c:v>
                </c:pt>
                <c:pt idx="55">
                  <c:v>8156</c:v>
                </c:pt>
                <c:pt idx="56">
                  <c:v>8156</c:v>
                </c:pt>
                <c:pt idx="57">
                  <c:v>8156</c:v>
                </c:pt>
                <c:pt idx="58">
                  <c:v>8156</c:v>
                </c:pt>
                <c:pt idx="59">
                  <c:v>8156</c:v>
                </c:pt>
                <c:pt idx="60">
                  <c:v>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88</c:v>
                </c:pt>
                <c:pt idx="1">
                  <c:v>1600</c:v>
                </c:pt>
                <c:pt idx="2">
                  <c:v>1626</c:v>
                </c:pt>
                <c:pt idx="3">
                  <c:v>1651</c:v>
                </c:pt>
                <c:pt idx="4">
                  <c:v>1671</c:v>
                </c:pt>
                <c:pt idx="5">
                  <c:v>1674</c:v>
                </c:pt>
                <c:pt idx="6">
                  <c:v>1678</c:v>
                </c:pt>
                <c:pt idx="7">
                  <c:v>1772</c:v>
                </c:pt>
                <c:pt idx="8">
                  <c:v>1801</c:v>
                </c:pt>
                <c:pt idx="9">
                  <c:v>1831</c:v>
                </c:pt>
                <c:pt idx="10">
                  <c:v>1821</c:v>
                </c:pt>
                <c:pt idx="11">
                  <c:v>1836</c:v>
                </c:pt>
                <c:pt idx="12">
                  <c:v>1785</c:v>
                </c:pt>
                <c:pt idx="13">
                  <c:v>1833</c:v>
                </c:pt>
                <c:pt idx="14">
                  <c:v>1891</c:v>
                </c:pt>
                <c:pt idx="15">
                  <c:v>1897</c:v>
                </c:pt>
                <c:pt idx="16">
                  <c:v>1865</c:v>
                </c:pt>
                <c:pt idx="17">
                  <c:v>1864</c:v>
                </c:pt>
                <c:pt idx="18">
                  <c:v>1821</c:v>
                </c:pt>
                <c:pt idx="19">
                  <c:v>1783</c:v>
                </c:pt>
                <c:pt idx="20">
                  <c:v>1807</c:v>
                </c:pt>
                <c:pt idx="21">
                  <c:v>1824</c:v>
                </c:pt>
                <c:pt idx="22">
                  <c:v>1779</c:v>
                </c:pt>
                <c:pt idx="23">
                  <c:v>1746</c:v>
                </c:pt>
                <c:pt idx="24">
                  <c:v>1746</c:v>
                </c:pt>
                <c:pt idx="25">
                  <c:v>1686</c:v>
                </c:pt>
                <c:pt idx="26">
                  <c:v>1652</c:v>
                </c:pt>
                <c:pt idx="27">
                  <c:v>1660</c:v>
                </c:pt>
                <c:pt idx="28">
                  <c:v>1668</c:v>
                </c:pt>
                <c:pt idx="29">
                  <c:v>1620</c:v>
                </c:pt>
                <c:pt idx="30">
                  <c:v>1564</c:v>
                </c:pt>
                <c:pt idx="31">
                  <c:v>1518</c:v>
                </c:pt>
                <c:pt idx="32">
                  <c:v>1437</c:v>
                </c:pt>
                <c:pt idx="33">
                  <c:v>1413</c:v>
                </c:pt>
                <c:pt idx="34">
                  <c:v>1392</c:v>
                </c:pt>
                <c:pt idx="35">
                  <c:v>1363</c:v>
                </c:pt>
                <c:pt idx="36">
                  <c:v>1414</c:v>
                </c:pt>
                <c:pt idx="37">
                  <c:v>1390</c:v>
                </c:pt>
                <c:pt idx="38">
                  <c:v>1334</c:v>
                </c:pt>
                <c:pt idx="39">
                  <c:v>1270</c:v>
                </c:pt>
                <c:pt idx="40">
                  <c:v>125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30.2191397925492</c:v>
                </c:pt>
                <c:pt idx="32">
                  <c:v>1496.375196120415</c:v>
                </c:pt>
                <c:pt idx="33">
                  <c:v>1462.9106233174198</c:v>
                </c:pt>
                <c:pt idx="34">
                  <c:v>1430.8212562313993</c:v>
                </c:pt>
                <c:pt idx="35">
                  <c:v>1399.7801552886681</c:v>
                </c:pt>
                <c:pt idx="36">
                  <c:v>1369.2191766887213</c:v>
                </c:pt>
                <c:pt idx="37">
                  <c:v>1338.8762059004825</c:v>
                </c:pt>
                <c:pt idx="38">
                  <c:v>1309.0435564479278</c:v>
                </c:pt>
                <c:pt idx="39">
                  <c:v>1278.9122585332334</c:v>
                </c:pt>
                <c:pt idx="40">
                  <c:v>1248.1905271099413</c:v>
                </c:pt>
                <c:pt idx="41">
                  <c:v>1217.2879555428667</c:v>
                </c:pt>
                <c:pt idx="42">
                  <c:v>1185.7562747416152</c:v>
                </c:pt>
                <c:pt idx="43">
                  <c:v>1153.4204530842198</c:v>
                </c:pt>
                <c:pt idx="44">
                  <c:v>1120.3644613469446</c:v>
                </c:pt>
                <c:pt idx="45">
                  <c:v>1086.8226049174418</c:v>
                </c:pt>
                <c:pt idx="46">
                  <c:v>1053.0999138732045</c:v>
                </c:pt>
                <c:pt idx="47">
                  <c:v>1019.3109100344344</c:v>
                </c:pt>
                <c:pt idx="48">
                  <c:v>985.4354782666253</c:v>
                </c:pt>
                <c:pt idx="49">
                  <c:v>951.48201680966565</c:v>
                </c:pt>
                <c:pt idx="50">
                  <c:v>917.70108637994485</c:v>
                </c:pt>
                <c:pt idx="51">
                  <c:v>884.25294492896614</c:v>
                </c:pt>
                <c:pt idx="52">
                  <c:v>851.42170025383575</c:v>
                </c:pt>
                <c:pt idx="53">
                  <c:v>818.99779153161614</c:v>
                </c:pt>
                <c:pt idx="54">
                  <c:v>787.09799345402007</c:v>
                </c:pt>
                <c:pt idx="55">
                  <c:v>755.85630385895911</c:v>
                </c:pt>
                <c:pt idx="56">
                  <c:v>725.39827197834825</c:v>
                </c:pt>
                <c:pt idx="57">
                  <c:v>695.83094032708323</c:v>
                </c:pt>
                <c:pt idx="58">
                  <c:v>667.14453217629364</c:v>
                </c:pt>
                <c:pt idx="59">
                  <c:v>639.40531133780212</c:v>
                </c:pt>
                <c:pt idx="60">
                  <c:v>612.57485778980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31.5386658376153</c:v>
                </c:pt>
                <c:pt idx="32">
                  <c:v>1500.1887729458856</c:v>
                </c:pt>
                <c:pt idx="33">
                  <c:v>1470.1483655988056</c:v>
                </c:pt>
                <c:pt idx="34">
                  <c:v>1442.2467855418952</c:v>
                </c:pt>
                <c:pt idx="35">
                  <c:v>1416.2613467966798</c:v>
                </c:pt>
                <c:pt idx="36">
                  <c:v>1391.7296455071655</c:v>
                </c:pt>
                <c:pt idx="37">
                  <c:v>1368.4703481516135</c:v>
                </c:pt>
                <c:pt idx="38">
                  <c:v>1346.7968084630513</c:v>
                </c:pt>
                <c:pt idx="39">
                  <c:v>1325.6980801508812</c:v>
                </c:pt>
                <c:pt idx="40">
                  <c:v>1304.7063045381192</c:v>
                </c:pt>
                <c:pt idx="41">
                  <c:v>1284.1491915546394</c:v>
                </c:pt>
                <c:pt idx="42">
                  <c:v>1263.4973490472935</c:v>
                </c:pt>
                <c:pt idx="43">
                  <c:v>1242.4606938509155</c:v>
                </c:pt>
                <c:pt idx="44">
                  <c:v>1220.9944300601505</c:v>
                </c:pt>
                <c:pt idx="45">
                  <c:v>1199.195466714363</c:v>
                </c:pt>
                <c:pt idx="46">
                  <c:v>1177.2076642874563</c:v>
                </c:pt>
                <c:pt idx="47">
                  <c:v>1155.0388319036074</c:v>
                </c:pt>
                <c:pt idx="48">
                  <c:v>1132.5854717838488</c:v>
                </c:pt>
                <c:pt idx="49">
                  <c:v>1109.7891291041774</c:v>
                </c:pt>
                <c:pt idx="50">
                  <c:v>1086.8311280656749</c:v>
                </c:pt>
                <c:pt idx="51">
                  <c:v>1063.7889384182624</c:v>
                </c:pt>
                <c:pt idx="52">
                  <c:v>1040.8789051430983</c:v>
                </c:pt>
                <c:pt idx="53">
                  <c:v>1017.8437217519023</c:v>
                </c:pt>
                <c:pt idx="54">
                  <c:v>994.77991630954443</c:v>
                </c:pt>
                <c:pt idx="55">
                  <c:v>971.80888023787998</c:v>
                </c:pt>
                <c:pt idx="56">
                  <c:v>949.03548955262227</c:v>
                </c:pt>
                <c:pt idx="57">
                  <c:v>926.55647205745674</c:v>
                </c:pt>
                <c:pt idx="58">
                  <c:v>904.36125783888269</c:v>
                </c:pt>
                <c:pt idx="59">
                  <c:v>882.51795593194993</c:v>
                </c:pt>
                <c:pt idx="60">
                  <c:v>860.99986268477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32.8581918826821</c:v>
                </c:pt>
                <c:pt idx="32">
                  <c:v>1504.0064992243281</c:v>
                </c:pt>
                <c:pt idx="33">
                  <c:v>1477.3998226745871</c:v>
                </c:pt>
                <c:pt idx="34">
                  <c:v>1453.6935129633644</c:v>
                </c:pt>
                <c:pt idx="35">
                  <c:v>1432.8378993938995</c:v>
                </c:pt>
                <c:pt idx="36">
                  <c:v>1414.5300961180217</c:v>
                </c:pt>
                <c:pt idx="37">
                  <c:v>1398.7214281344327</c:v>
                </c:pt>
                <c:pt idx="38">
                  <c:v>1385.7819034477932</c:v>
                </c:pt>
                <c:pt idx="39">
                  <c:v>1374.502306905232</c:v>
                </c:pt>
                <c:pt idx="40">
                  <c:v>1364.2453775160536</c:v>
                </c:pt>
                <c:pt idx="41">
                  <c:v>1355.3028614970808</c:v>
                </c:pt>
                <c:pt idx="42">
                  <c:v>1347.1253372823521</c:v>
                </c:pt>
                <c:pt idx="43">
                  <c:v>1339.3578031170907</c:v>
                </c:pt>
                <c:pt idx="44">
                  <c:v>1331.8237083445381</c:v>
                </c:pt>
                <c:pt idx="45">
                  <c:v>1324.4852904659108</c:v>
                </c:pt>
                <c:pt idx="46">
                  <c:v>1317.3350333755479</c:v>
                </c:pt>
                <c:pt idx="47">
                  <c:v>1310.2820339410723</c:v>
                </c:pt>
                <c:pt idx="48">
                  <c:v>1303.1574285782322</c:v>
                </c:pt>
                <c:pt idx="49">
                  <c:v>1295.8427422789994</c:v>
                </c:pt>
                <c:pt idx="50">
                  <c:v>1288.4229319450781</c:v>
                </c:pt>
                <c:pt idx="51">
                  <c:v>1280.8802704087643</c:v>
                </c:pt>
                <c:pt idx="52">
                  <c:v>1273.3506552378381</c:v>
                </c:pt>
                <c:pt idx="53">
                  <c:v>1265.5195836787725</c:v>
                </c:pt>
                <c:pt idx="54">
                  <c:v>1257.4464272439079</c:v>
                </c:pt>
                <c:pt idx="55">
                  <c:v>1249.2173097339878</c:v>
                </c:pt>
                <c:pt idx="56">
                  <c:v>1240.8989954278663</c:v>
                </c:pt>
                <c:pt idx="57">
                  <c:v>1232.5484583457223</c:v>
                </c:pt>
                <c:pt idx="58">
                  <c:v>1224.1298886776738</c:v>
                </c:pt>
                <c:pt idx="59">
                  <c:v>1215.6914310179739</c:v>
                </c:pt>
                <c:pt idx="60">
                  <c:v>1207.1927765912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08</c:v>
                </c:pt>
                <c:pt idx="1">
                  <c:v>1208</c:v>
                </c:pt>
                <c:pt idx="2">
                  <c:v>1208</c:v>
                </c:pt>
                <c:pt idx="3">
                  <c:v>1208</c:v>
                </c:pt>
                <c:pt idx="4">
                  <c:v>1208</c:v>
                </c:pt>
                <c:pt idx="5">
                  <c:v>1208</c:v>
                </c:pt>
                <c:pt idx="6">
                  <c:v>1208</c:v>
                </c:pt>
                <c:pt idx="7">
                  <c:v>1208</c:v>
                </c:pt>
                <c:pt idx="8">
                  <c:v>1208</c:v>
                </c:pt>
                <c:pt idx="9">
                  <c:v>1208</c:v>
                </c:pt>
                <c:pt idx="10">
                  <c:v>1208</c:v>
                </c:pt>
                <c:pt idx="11">
                  <c:v>1208</c:v>
                </c:pt>
                <c:pt idx="12">
                  <c:v>1208</c:v>
                </c:pt>
                <c:pt idx="13">
                  <c:v>1208</c:v>
                </c:pt>
                <c:pt idx="14">
                  <c:v>1208</c:v>
                </c:pt>
                <c:pt idx="15">
                  <c:v>1208</c:v>
                </c:pt>
                <c:pt idx="16">
                  <c:v>1208</c:v>
                </c:pt>
                <c:pt idx="17">
                  <c:v>1208</c:v>
                </c:pt>
                <c:pt idx="18">
                  <c:v>1208</c:v>
                </c:pt>
                <c:pt idx="19">
                  <c:v>1208</c:v>
                </c:pt>
                <c:pt idx="20">
                  <c:v>1208</c:v>
                </c:pt>
                <c:pt idx="21">
                  <c:v>1208</c:v>
                </c:pt>
                <c:pt idx="22">
                  <c:v>1208</c:v>
                </c:pt>
                <c:pt idx="23">
                  <c:v>1208</c:v>
                </c:pt>
                <c:pt idx="24">
                  <c:v>1208</c:v>
                </c:pt>
                <c:pt idx="25">
                  <c:v>1208</c:v>
                </c:pt>
                <c:pt idx="26">
                  <c:v>1208</c:v>
                </c:pt>
                <c:pt idx="27">
                  <c:v>1208</c:v>
                </c:pt>
                <c:pt idx="28">
                  <c:v>1208</c:v>
                </c:pt>
                <c:pt idx="29">
                  <c:v>1208</c:v>
                </c:pt>
                <c:pt idx="30">
                  <c:v>1208</c:v>
                </c:pt>
                <c:pt idx="31">
                  <c:v>1208</c:v>
                </c:pt>
                <c:pt idx="32">
                  <c:v>1208</c:v>
                </c:pt>
                <c:pt idx="33">
                  <c:v>1208</c:v>
                </c:pt>
                <c:pt idx="34">
                  <c:v>1208</c:v>
                </c:pt>
                <c:pt idx="35">
                  <c:v>1208</c:v>
                </c:pt>
                <c:pt idx="36">
                  <c:v>1208</c:v>
                </c:pt>
                <c:pt idx="37">
                  <c:v>1208</c:v>
                </c:pt>
                <c:pt idx="38">
                  <c:v>1208</c:v>
                </c:pt>
                <c:pt idx="39">
                  <c:v>1208</c:v>
                </c:pt>
                <c:pt idx="40">
                  <c:v>1208</c:v>
                </c:pt>
                <c:pt idx="41">
                  <c:v>1208</c:v>
                </c:pt>
                <c:pt idx="42">
                  <c:v>1208</c:v>
                </c:pt>
                <c:pt idx="43">
                  <c:v>1208</c:v>
                </c:pt>
                <c:pt idx="44">
                  <c:v>1208</c:v>
                </c:pt>
                <c:pt idx="45">
                  <c:v>1208</c:v>
                </c:pt>
                <c:pt idx="46">
                  <c:v>1208</c:v>
                </c:pt>
                <c:pt idx="47">
                  <c:v>1208</c:v>
                </c:pt>
                <c:pt idx="48">
                  <c:v>1208</c:v>
                </c:pt>
                <c:pt idx="49">
                  <c:v>1208</c:v>
                </c:pt>
                <c:pt idx="50">
                  <c:v>1208</c:v>
                </c:pt>
                <c:pt idx="51">
                  <c:v>1208</c:v>
                </c:pt>
                <c:pt idx="52">
                  <c:v>1208</c:v>
                </c:pt>
                <c:pt idx="53">
                  <c:v>1208</c:v>
                </c:pt>
                <c:pt idx="54">
                  <c:v>1208</c:v>
                </c:pt>
                <c:pt idx="55">
                  <c:v>1208</c:v>
                </c:pt>
                <c:pt idx="56">
                  <c:v>1208</c:v>
                </c:pt>
                <c:pt idx="57">
                  <c:v>1208</c:v>
                </c:pt>
                <c:pt idx="58">
                  <c:v>1208</c:v>
                </c:pt>
                <c:pt idx="59">
                  <c:v>1208</c:v>
                </c:pt>
                <c:pt idx="60">
                  <c:v>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1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1</c:v>
                </c:pt>
                <c:pt idx="27">
                  <c:v>10936</c:v>
                </c:pt>
                <c:pt idx="28">
                  <c:v>16475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5</c:v>
                </c:pt>
                <c:pt idx="33">
                  <c:v>6267</c:v>
                </c:pt>
                <c:pt idx="34">
                  <c:v>12955</c:v>
                </c:pt>
                <c:pt idx="35">
                  <c:v>17398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7</c:v>
                </c:pt>
                <c:pt idx="40">
                  <c:v>4312</c:v>
                </c:pt>
                <c:pt idx="41">
                  <c:v>9384</c:v>
                </c:pt>
                <c:pt idx="42">
                  <c:v>10810</c:v>
                </c:pt>
                <c:pt idx="43">
                  <c:v>10918</c:v>
                </c:pt>
                <c:pt idx="44">
                  <c:v>8087</c:v>
                </c:pt>
                <c:pt idx="45">
                  <c:v>9300</c:v>
                </c:pt>
                <c:pt idx="46">
                  <c:v>5241</c:v>
                </c:pt>
                <c:pt idx="47">
                  <c:v>2641</c:v>
                </c:pt>
                <c:pt idx="48">
                  <c:v>7668</c:v>
                </c:pt>
                <c:pt idx="49">
                  <c:v>9609</c:v>
                </c:pt>
                <c:pt idx="50">
                  <c:v>8215</c:v>
                </c:pt>
                <c:pt idx="51">
                  <c:v>7532</c:v>
                </c:pt>
                <c:pt idx="52">
                  <c:v>8467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3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6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9</c:v>
                </c:pt>
                <c:pt idx="70">
                  <c:v>10283</c:v>
                </c:pt>
                <c:pt idx="71">
                  <c:v>9539</c:v>
                </c:pt>
                <c:pt idx="72">
                  <c:v>9018</c:v>
                </c:pt>
                <c:pt idx="73">
                  <c:v>8829</c:v>
                </c:pt>
                <c:pt idx="74">
                  <c:v>5141</c:v>
                </c:pt>
                <c:pt idx="75">
                  <c:v>2881</c:v>
                </c:pt>
                <c:pt idx="76">
                  <c:v>8905</c:v>
                </c:pt>
                <c:pt idx="77">
                  <c:v>12609</c:v>
                </c:pt>
                <c:pt idx="78">
                  <c:v>10938</c:v>
                </c:pt>
                <c:pt idx="79">
                  <c:v>11702</c:v>
                </c:pt>
                <c:pt idx="80">
                  <c:v>11287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1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3</c:v>
                </c:pt>
                <c:pt idx="89">
                  <c:v>4587</c:v>
                </c:pt>
                <c:pt idx="90">
                  <c:v>12322</c:v>
                </c:pt>
                <c:pt idx="91">
                  <c:v>16777</c:v>
                </c:pt>
                <c:pt idx="92">
                  <c:v>15239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58</c:v>
                </c:pt>
                <c:pt idx="99">
                  <c:v>14535</c:v>
                </c:pt>
                <c:pt idx="100">
                  <c:v>11242</c:v>
                </c:pt>
                <c:pt idx="101">
                  <c:v>14957</c:v>
                </c:pt>
                <c:pt idx="102">
                  <c:v>6956</c:v>
                </c:pt>
                <c:pt idx="103">
                  <c:v>3331</c:v>
                </c:pt>
                <c:pt idx="104">
                  <c:v>10628</c:v>
                </c:pt>
                <c:pt idx="105">
                  <c:v>14027</c:v>
                </c:pt>
                <c:pt idx="106">
                  <c:v>12026</c:v>
                </c:pt>
                <c:pt idx="107">
                  <c:v>10657</c:v>
                </c:pt>
                <c:pt idx="108">
                  <c:v>9709</c:v>
                </c:pt>
                <c:pt idx="109">
                  <c:v>5466</c:v>
                </c:pt>
                <c:pt idx="110">
                  <c:v>2389</c:v>
                </c:pt>
                <c:pt idx="111">
                  <c:v>8240</c:v>
                </c:pt>
                <c:pt idx="112">
                  <c:v>10969</c:v>
                </c:pt>
                <c:pt idx="113">
                  <c:v>8845</c:v>
                </c:pt>
                <c:pt idx="114">
                  <c:v>7925</c:v>
                </c:pt>
                <c:pt idx="115">
                  <c:v>7710</c:v>
                </c:pt>
                <c:pt idx="116">
                  <c:v>3969</c:v>
                </c:pt>
                <c:pt idx="117">
                  <c:v>1743</c:v>
                </c:pt>
                <c:pt idx="118">
                  <c:v>6934</c:v>
                </c:pt>
                <c:pt idx="119">
                  <c:v>8629</c:v>
                </c:pt>
                <c:pt idx="120">
                  <c:v>7257</c:v>
                </c:pt>
                <c:pt idx="121">
                  <c:v>6242</c:v>
                </c:pt>
                <c:pt idx="122">
                  <c:v>3830</c:v>
                </c:pt>
                <c:pt idx="123">
                  <c:v>2158</c:v>
                </c:pt>
                <c:pt idx="124">
                  <c:v>1923</c:v>
                </c:pt>
                <c:pt idx="125">
                  <c:v>1417</c:v>
                </c:pt>
                <c:pt idx="126">
                  <c:v>5577</c:v>
                </c:pt>
                <c:pt idx="127">
                  <c:v>7046</c:v>
                </c:pt>
                <c:pt idx="128">
                  <c:v>5269</c:v>
                </c:pt>
                <c:pt idx="129">
                  <c:v>47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  <c:pt idx="151" formatCode="#,##0">
                  <c:v>12334.650077394488</c:v>
                </c:pt>
                <c:pt idx="152" formatCode="#,##0">
                  <c:v>12173.519071545517</c:v>
                </c:pt>
                <c:pt idx="153" formatCode="#,##0">
                  <c:v>12011.136454096581</c:v>
                </c:pt>
                <c:pt idx="154" formatCode="#,##0">
                  <c:v>11847.653911480365</c:v>
                </c:pt>
                <c:pt idx="155" formatCode="#,##0">
                  <c:v>11683.220394169555</c:v>
                </c:pt>
                <c:pt idx="156" formatCode="#,##0">
                  <c:v>11517.981919224159</c:v>
                </c:pt>
                <c:pt idx="157" formatCode="#,##0">
                  <c:v>11352.08138795762</c:v>
                </c:pt>
                <c:pt idx="158" formatCode="#,##0">
                  <c:v>11185.658418757575</c:v>
                </c:pt>
                <c:pt idx="159" formatCode="#,##0">
                  <c:v>11018.849195020563</c:v>
                </c:pt>
                <c:pt idx="160" formatCode="#,##0">
                  <c:v>10851.78632808833</c:v>
                </c:pt>
                <c:pt idx="161" formatCode="#,##0">
                  <c:v>10684.598735007381</c:v>
                </c:pt>
                <c:pt idx="162" formatCode="#,##0">
                  <c:v>10517.41153087225</c:v>
                </c:pt>
                <c:pt idx="163" formatCode="#,##0">
                  <c:v>10350.34593545749</c:v>
                </c:pt>
                <c:pt idx="164" formatCode="#,##0">
                  <c:v>10183.519193792981</c:v>
                </c:pt>
                <c:pt idx="165" formatCode="#,##0">
                  <c:v>10017.044510292133</c:v>
                </c:pt>
                <c:pt idx="166" formatCode="#,##0">
                  <c:v>9851.0309960025079</c:v>
                </c:pt>
                <c:pt idx="167" formatCode="#,##0">
                  <c:v>9685.5836285136211</c:v>
                </c:pt>
                <c:pt idx="168" formatCode="#,##0">
                  <c:v>9520.8032240265748</c:v>
                </c:pt>
                <c:pt idx="169" formatCode="#,##0">
                  <c:v>9356.7864210649568</c:v>
                </c:pt>
                <c:pt idx="170" formatCode="#,##0">
                  <c:v>9193.6256752857098</c:v>
                </c:pt>
                <c:pt idx="171" formatCode="#,##0">
                  <c:v>9031.4092648322239</c:v>
                </c:pt>
                <c:pt idx="172" formatCode="#,##0">
                  <c:v>8870.2213056597575</c:v>
                </c:pt>
                <c:pt idx="173" formatCode="#,##0">
                  <c:v>8710.1417762547771</c:v>
                </c:pt>
                <c:pt idx="174" formatCode="#,##0">
                  <c:v>8551.2465511651244</c:v>
                </c:pt>
                <c:pt idx="175" formatCode="#,##0">
                  <c:v>8393.6074427566346</c:v>
                </c:pt>
                <c:pt idx="176" formatCode="#,##0">
                  <c:v>8237.2922506135019</c:v>
                </c:pt>
                <c:pt idx="177" formatCode="#,##0">
                  <c:v>8082.3648180044675</c:v>
                </c:pt>
                <c:pt idx="178" formatCode="#,##0">
                  <c:v>7928.885094844276</c:v>
                </c:pt>
                <c:pt idx="179" formatCode="#,##0">
                  <c:v>7776.9092065893965</c:v>
                </c:pt>
                <c:pt idx="180" formatCode="#,##0">
                  <c:v>7626.4895285190469</c:v>
                </c:pt>
                <c:pt idx="181" formatCode="#,##0">
                  <c:v>7477.674764866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D6-49D4-BBCA-40283A14DED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6318</c:v>
                </c:pt>
                <c:pt idx="1">
                  <c:v>6352</c:v>
                </c:pt>
                <c:pt idx="2">
                  <c:v>6437</c:v>
                </c:pt>
                <c:pt idx="3">
                  <c:v>6535</c:v>
                </c:pt>
                <c:pt idx="4">
                  <c:v>6550</c:v>
                </c:pt>
                <c:pt idx="5">
                  <c:v>6151</c:v>
                </c:pt>
                <c:pt idx="6">
                  <c:v>6359</c:v>
                </c:pt>
                <c:pt idx="7">
                  <c:v>7055</c:v>
                </c:pt>
                <c:pt idx="8">
                  <c:v>7088</c:v>
                </c:pt>
                <c:pt idx="9">
                  <c:v>7178</c:v>
                </c:pt>
                <c:pt idx="10">
                  <c:v>7395</c:v>
                </c:pt>
                <c:pt idx="11">
                  <c:v>7491</c:v>
                </c:pt>
                <c:pt idx="12">
                  <c:v>7196</c:v>
                </c:pt>
                <c:pt idx="13">
                  <c:v>7461</c:v>
                </c:pt>
                <c:pt idx="14">
                  <c:v>8271</c:v>
                </c:pt>
                <c:pt idx="15">
                  <c:v>8454</c:v>
                </c:pt>
                <c:pt idx="16">
                  <c:v>8396</c:v>
                </c:pt>
                <c:pt idx="17">
                  <c:v>8399</c:v>
                </c:pt>
                <c:pt idx="18">
                  <c:v>8457</c:v>
                </c:pt>
                <c:pt idx="19">
                  <c:v>8111</c:v>
                </c:pt>
                <c:pt idx="20">
                  <c:v>8337</c:v>
                </c:pt>
                <c:pt idx="21">
                  <c:v>9011</c:v>
                </c:pt>
                <c:pt idx="22">
                  <c:v>8982</c:v>
                </c:pt>
                <c:pt idx="23">
                  <c:v>9004</c:v>
                </c:pt>
                <c:pt idx="24">
                  <c:v>8966</c:v>
                </c:pt>
                <c:pt idx="25">
                  <c:v>8939</c:v>
                </c:pt>
                <c:pt idx="26">
                  <c:v>8541</c:v>
                </c:pt>
                <c:pt idx="27">
                  <c:v>8756</c:v>
                </c:pt>
                <c:pt idx="28">
                  <c:v>9472</c:v>
                </c:pt>
                <c:pt idx="29">
                  <c:v>9343</c:v>
                </c:pt>
                <c:pt idx="30">
                  <c:v>9173</c:v>
                </c:pt>
                <c:pt idx="31">
                  <c:v>8968</c:v>
                </c:pt>
                <c:pt idx="32">
                  <c:v>8777</c:v>
                </c:pt>
                <c:pt idx="33">
                  <c:v>8221</c:v>
                </c:pt>
                <c:pt idx="34">
                  <c:v>8337</c:v>
                </c:pt>
                <c:pt idx="35">
                  <c:v>8975</c:v>
                </c:pt>
                <c:pt idx="36">
                  <c:v>8641</c:v>
                </c:pt>
                <c:pt idx="37">
                  <c:v>8321</c:v>
                </c:pt>
                <c:pt idx="38">
                  <c:v>8173</c:v>
                </c:pt>
                <c:pt idx="39">
                  <c:v>8049</c:v>
                </c:pt>
                <c:pt idx="40">
                  <c:v>7536</c:v>
                </c:pt>
                <c:pt idx="41">
                  <c:v>7583</c:v>
                </c:pt>
                <c:pt idx="42">
                  <c:v>8128</c:v>
                </c:pt>
                <c:pt idx="43">
                  <c:v>7848</c:v>
                </c:pt>
                <c:pt idx="44">
                  <c:v>7530</c:v>
                </c:pt>
                <c:pt idx="45">
                  <c:v>7229</c:v>
                </c:pt>
                <c:pt idx="46">
                  <c:v>6388</c:v>
                </c:pt>
                <c:pt idx="47">
                  <c:v>6229</c:v>
                </c:pt>
                <c:pt idx="48">
                  <c:v>6320</c:v>
                </c:pt>
                <c:pt idx="49">
                  <c:v>6390</c:v>
                </c:pt>
                <c:pt idx="50">
                  <c:v>7075</c:v>
                </c:pt>
                <c:pt idx="51">
                  <c:v>6699</c:v>
                </c:pt>
                <c:pt idx="52">
                  <c:v>6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31.5522738014424</c:v>
                </c:pt>
                <c:pt idx="13">
                  <c:v>8193.7949368262744</c:v>
                </c:pt>
                <c:pt idx="14">
                  <c:v>8467.6154283889045</c:v>
                </c:pt>
                <c:pt idx="15">
                  <c:v>8746.9129729918423</c:v>
                </c:pt>
                <c:pt idx="16">
                  <c:v>9030.6924666136729</c:v>
                </c:pt>
                <c:pt idx="17">
                  <c:v>9312.207074760252</c:v>
                </c:pt>
                <c:pt idx="18">
                  <c:v>9583.9306255261563</c:v>
                </c:pt>
                <c:pt idx="19">
                  <c:v>9845.5837729842024</c:v>
                </c:pt>
                <c:pt idx="20">
                  <c:v>10096.80791915163</c:v>
                </c:pt>
                <c:pt idx="21">
                  <c:v>10332.908535706847</c:v>
                </c:pt>
                <c:pt idx="22">
                  <c:v>10551.54357173382</c:v>
                </c:pt>
                <c:pt idx="23">
                  <c:v>10753.324292726917</c:v>
                </c:pt>
                <c:pt idx="24">
                  <c:v>10939.470832409774</c:v>
                </c:pt>
                <c:pt idx="25">
                  <c:v>11111.022332431477</c:v>
                </c:pt>
                <c:pt idx="26">
                  <c:v>11268.035623801787</c:v>
                </c:pt>
                <c:pt idx="27">
                  <c:v>11410.023991359425</c:v>
                </c:pt>
                <c:pt idx="28">
                  <c:v>11535.848047877857</c:v>
                </c:pt>
                <c:pt idx="29">
                  <c:v>11646.134845904917</c:v>
                </c:pt>
                <c:pt idx="30">
                  <c:v>11741.990785426487</c:v>
                </c:pt>
                <c:pt idx="31">
                  <c:v>11824.137387865227</c:v>
                </c:pt>
                <c:pt idx="32">
                  <c:v>11892.903856462735</c:v>
                </c:pt>
                <c:pt idx="33">
                  <c:v>11949.038223513196</c:v>
                </c:pt>
                <c:pt idx="34">
                  <c:v>11993.513046453769</c:v>
                </c:pt>
                <c:pt idx="35">
                  <c:v>12026.545344259961</c:v>
                </c:pt>
                <c:pt idx="36">
                  <c:v>12048.786111627651</c:v>
                </c:pt>
                <c:pt idx="37">
                  <c:v>12060.767000124291</c:v>
                </c:pt>
                <c:pt idx="38">
                  <c:v>12062.798496133062</c:v>
                </c:pt>
                <c:pt idx="39">
                  <c:v>12055.535444133184</c:v>
                </c:pt>
                <c:pt idx="40">
                  <c:v>12039.643255398167</c:v>
                </c:pt>
                <c:pt idx="41">
                  <c:v>12015.434765807086</c:v>
                </c:pt>
                <c:pt idx="42">
                  <c:v>11983.210036903323</c:v>
                </c:pt>
                <c:pt idx="43">
                  <c:v>11943.436237119218</c:v>
                </c:pt>
                <c:pt idx="44">
                  <c:v>11896.419543106575</c:v>
                </c:pt>
                <c:pt idx="45">
                  <c:v>11842.474374672202</c:v>
                </c:pt>
                <c:pt idx="46">
                  <c:v>11782.039236755074</c:v>
                </c:pt>
                <c:pt idx="47">
                  <c:v>11715.367034225173</c:v>
                </c:pt>
                <c:pt idx="48">
                  <c:v>11645.748511456459</c:v>
                </c:pt>
                <c:pt idx="49">
                  <c:v>11573.47758162267</c:v>
                </c:pt>
                <c:pt idx="50">
                  <c:v>11498.729365897672</c:v>
                </c:pt>
                <c:pt idx="51">
                  <c:v>11421.742063989221</c:v>
                </c:pt>
                <c:pt idx="52">
                  <c:v>11342.74740514414</c:v>
                </c:pt>
                <c:pt idx="53">
                  <c:v>11261.965803587391</c:v>
                </c:pt>
                <c:pt idx="54">
                  <c:v>11179.629506415027</c:v>
                </c:pt>
                <c:pt idx="55">
                  <c:v>11095.935020422321</c:v>
                </c:pt>
                <c:pt idx="56">
                  <c:v>11011.042721272161</c:v>
                </c:pt>
                <c:pt idx="57">
                  <c:v>10925.073076528879</c:v>
                </c:pt>
                <c:pt idx="58">
                  <c:v>10838.140631910339</c:v>
                </c:pt>
                <c:pt idx="59">
                  <c:v>10750.370820727008</c:v>
                </c:pt>
                <c:pt idx="60">
                  <c:v>10661.915980781467</c:v>
                </c:pt>
                <c:pt idx="61">
                  <c:v>10572.948099720816</c:v>
                </c:pt>
                <c:pt idx="62">
                  <c:v>10483.546465504322</c:v>
                </c:pt>
                <c:pt idx="63">
                  <c:v>10393.803916192661</c:v>
                </c:pt>
                <c:pt idx="64">
                  <c:v>10303.861567112373</c:v>
                </c:pt>
                <c:pt idx="65">
                  <c:v>10213.785773217924</c:v>
                </c:pt>
                <c:pt idx="66">
                  <c:v>10123.625223850049</c:v>
                </c:pt>
                <c:pt idx="67">
                  <c:v>10033.475369768119</c:v>
                </c:pt>
                <c:pt idx="68">
                  <c:v>9943.4358721046829</c:v>
                </c:pt>
                <c:pt idx="69">
                  <c:v>9853.5644851223551</c:v>
                </c:pt>
                <c:pt idx="70">
                  <c:v>9763.924041946213</c:v>
                </c:pt>
                <c:pt idx="71">
                  <c:v>9674.5816313164014</c:v>
                </c:pt>
                <c:pt idx="72">
                  <c:v>9585.5927684612634</c:v>
                </c:pt>
                <c:pt idx="73">
                  <c:v>9497.0081325328683</c:v>
                </c:pt>
                <c:pt idx="74">
                  <c:v>9408.8747644341802</c:v>
                </c:pt>
                <c:pt idx="75">
                  <c:v>9321.2360251680821</c:v>
                </c:pt>
                <c:pt idx="76">
                  <c:v>9234.1310423892191</c:v>
                </c:pt>
                <c:pt idx="77">
                  <c:v>9147.5951740168621</c:v>
                </c:pt>
                <c:pt idx="78">
                  <c:v>9061.6601727252837</c:v>
                </c:pt>
                <c:pt idx="79">
                  <c:v>8976.3539946234887</c:v>
                </c:pt>
                <c:pt idx="80">
                  <c:v>8891.7012609393714</c:v>
                </c:pt>
                <c:pt idx="81">
                  <c:v>8807.7235049582796</c:v>
                </c:pt>
                <c:pt idx="82">
                  <c:v>8724.4392160395055</c:v>
                </c:pt>
                <c:pt idx="83">
                  <c:v>8641.8640347407345</c:v>
                </c:pt>
                <c:pt idx="84">
                  <c:v>8560.010968599101</c:v>
                </c:pt>
                <c:pt idx="85">
                  <c:v>8478.8904825950194</c:v>
                </c:pt>
                <c:pt idx="86">
                  <c:v>8398.5105415763755</c:v>
                </c:pt>
                <c:pt idx="87">
                  <c:v>8318.8768307740993</c:v>
                </c:pt>
                <c:pt idx="88">
                  <c:v>8239.9929527778277</c:v>
                </c:pt>
                <c:pt idx="89">
                  <c:v>8161.8605799738843</c:v>
                </c:pt>
                <c:pt idx="90">
                  <c:v>8084.4795617019545</c:v>
                </c:pt>
                <c:pt idx="91">
                  <c:v>8007.848022648931</c:v>
                </c:pt>
                <c:pt idx="92">
                  <c:v>7931.9625298930623</c:v>
                </c:pt>
                <c:pt idx="93">
                  <c:v>7856.8182107687398</c:v>
                </c:pt>
                <c:pt idx="94">
                  <c:v>7782.4088560768396</c:v>
                </c:pt>
                <c:pt idx="95">
                  <c:v>7708.7270511846255</c:v>
                </c:pt>
                <c:pt idx="96">
                  <c:v>7635.7643094445884</c:v>
                </c:pt>
                <c:pt idx="97">
                  <c:v>7563.5111953383912</c:v>
                </c:pt>
                <c:pt idx="98">
                  <c:v>7491.9574223839272</c:v>
                </c:pt>
                <c:pt idx="99">
                  <c:v>7421.0919403833304</c:v>
                </c:pt>
                <c:pt idx="100">
                  <c:v>7350.9030437987631</c:v>
                </c:pt>
                <c:pt idx="101">
                  <c:v>7281.3784763318054</c:v>
                </c:pt>
                <c:pt idx="102">
                  <c:v>7212.5055189606192</c:v>
                </c:pt>
                <c:pt idx="103">
                  <c:v>7144.2710778890605</c:v>
                </c:pt>
                <c:pt idx="104">
                  <c:v>7076.6617677339982</c:v>
                </c:pt>
                <c:pt idx="105">
                  <c:v>7009.663990054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4B-49C3-A552-FC8CD36DEB4C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27.5036554373874</c:v>
                </c:pt>
                <c:pt idx="13">
                  <c:v>8178.8407071724523</c:v>
                </c:pt>
                <c:pt idx="14">
                  <c:v>8433.2297068548633</c:v>
                </c:pt>
                <c:pt idx="15">
                  <c:v>8683.4860314971902</c:v>
                </c:pt>
                <c:pt idx="16">
                  <c:v>8927.8341552411457</c:v>
                </c:pt>
                <c:pt idx="17">
                  <c:v>9158.9015366558306</c:v>
                </c:pt>
                <c:pt idx="18">
                  <c:v>9368.663691722064</c:v>
                </c:pt>
                <c:pt idx="19">
                  <c:v>9556.5085497429736</c:v>
                </c:pt>
                <c:pt idx="20">
                  <c:v>9721.9991608728033</c:v>
                </c:pt>
                <c:pt idx="21">
                  <c:v>9860.604538894615</c:v>
                </c:pt>
                <c:pt idx="22">
                  <c:v>9970.409506576616</c:v>
                </c:pt>
                <c:pt idx="23">
                  <c:v>10052.722249482642</c:v>
                </c:pt>
                <c:pt idx="24">
                  <c:v>10109.642928074862</c:v>
                </c:pt>
                <c:pt idx="25">
                  <c:v>10143.178943764886</c:v>
                </c:pt>
                <c:pt idx="26">
                  <c:v>10154.409892875401</c:v>
                </c:pt>
                <c:pt idx="27">
                  <c:v>10143.913370193412</c:v>
                </c:pt>
                <c:pt idx="28">
                  <c:v>10111.628752794104</c:v>
                </c:pt>
                <c:pt idx="29">
                  <c:v>10059.250531358719</c:v>
                </c:pt>
                <c:pt idx="30">
                  <c:v>9988.9190624145431</c:v>
                </c:pt>
                <c:pt idx="31">
                  <c:v>9902.3514265336453</c:v>
                </c:pt>
                <c:pt idx="32">
                  <c:v>9800.8373788582285</c:v>
                </c:pt>
                <c:pt idx="33">
                  <c:v>9686.0556333873883</c:v>
                </c:pt>
                <c:pt idx="34">
                  <c:v>9559.8669000297923</c:v>
                </c:pt>
                <c:pt idx="35">
                  <c:v>9423.3101085894687</c:v>
                </c:pt>
                <c:pt idx="36">
                  <c:v>9277.7862144212249</c:v>
                </c:pt>
                <c:pt idx="37">
                  <c:v>9124.5093254181265</c:v>
                </c:pt>
                <c:pt idx="38">
                  <c:v>8964.4131323599649</c:v>
                </c:pt>
                <c:pt idx="39">
                  <c:v>8798.7147582139787</c:v>
                </c:pt>
                <c:pt idx="40">
                  <c:v>8628.5864473178681</c:v>
                </c:pt>
                <c:pt idx="41">
                  <c:v>8454.7940666114318</c:v>
                </c:pt>
                <c:pt idx="42">
                  <c:v>8278.0384528384766</c:v>
                </c:pt>
                <c:pt idx="43">
                  <c:v>8099.1398565369373</c:v>
                </c:pt>
                <c:pt idx="44">
                  <c:v>7918.7090367630908</c:v>
                </c:pt>
                <c:pt idx="45">
                  <c:v>7737.3188344419905</c:v>
                </c:pt>
                <c:pt idx="46">
                  <c:v>7555.6237625192007</c:v>
                </c:pt>
                <c:pt idx="47">
                  <c:v>7374.0544184679966</c:v>
                </c:pt>
                <c:pt idx="48">
                  <c:v>7194.8907245393248</c:v>
                </c:pt>
                <c:pt idx="49">
                  <c:v>7018.4283971524101</c:v>
                </c:pt>
                <c:pt idx="50">
                  <c:v>6844.8206277902764</c:v>
                </c:pt>
                <c:pt idx="51">
                  <c:v>6674.2623915119702</c:v>
                </c:pt>
                <c:pt idx="52">
                  <c:v>6506.9242344970125</c:v>
                </c:pt>
                <c:pt idx="53">
                  <c:v>6342.9497603710461</c:v>
                </c:pt>
                <c:pt idx="54">
                  <c:v>6182.4807127655695</c:v>
                </c:pt>
                <c:pt idx="55">
                  <c:v>6025.6116742315899</c:v>
                </c:pt>
                <c:pt idx="56">
                  <c:v>5872.3909531744248</c:v>
                </c:pt>
                <c:pt idx="57">
                  <c:v>5722.818215296119</c:v>
                </c:pt>
                <c:pt idx="58">
                  <c:v>5576.880127703751</c:v>
                </c:pt>
                <c:pt idx="59">
                  <c:v>5434.5685766589741</c:v>
                </c:pt>
                <c:pt idx="60">
                  <c:v>5295.8979267290197</c:v>
                </c:pt>
                <c:pt idx="61">
                  <c:v>5160.8988644035244</c:v>
                </c:pt>
                <c:pt idx="62">
                  <c:v>5029.507415074765</c:v>
                </c:pt>
                <c:pt idx="63">
                  <c:v>4901.6722166798763</c:v>
                </c:pt>
                <c:pt idx="64">
                  <c:v>4777.3897357680271</c:v>
                </c:pt>
                <c:pt idx="65">
                  <c:v>4656.5814728264013</c:v>
                </c:pt>
                <c:pt idx="66">
                  <c:v>4539.1515768147619</c:v>
                </c:pt>
                <c:pt idx="67">
                  <c:v>4425.0521293648935</c:v>
                </c:pt>
                <c:pt idx="68">
                  <c:v>4314.2415428973018</c:v>
                </c:pt>
                <c:pt idx="69">
                  <c:v>4206.6384886395517</c:v>
                </c:pt>
                <c:pt idx="70">
                  <c:v>4102.169410650371</c:v>
                </c:pt>
                <c:pt idx="71">
                  <c:v>4000.7681398717559</c:v>
                </c:pt>
                <c:pt idx="72">
                  <c:v>3902.3602346390849</c:v>
                </c:pt>
                <c:pt idx="73">
                  <c:v>3806.8695634724681</c:v>
                </c:pt>
                <c:pt idx="74">
                  <c:v>3714.2197987895802</c:v>
                </c:pt>
                <c:pt idx="75">
                  <c:v>3624.3346292297729</c:v>
                </c:pt>
                <c:pt idx="76">
                  <c:v>3537.1373657322065</c:v>
                </c:pt>
                <c:pt idx="77">
                  <c:v>3452.5515163372265</c:v>
                </c:pt>
                <c:pt idx="78">
                  <c:v>3370.5010180504528</c:v>
                </c:pt>
                <c:pt idx="79">
                  <c:v>3290.9100809288525</c:v>
                </c:pt>
                <c:pt idx="80">
                  <c:v>3213.7036620639938</c:v>
                </c:pt>
                <c:pt idx="81">
                  <c:v>3138.8077139150005</c:v>
                </c:pt>
                <c:pt idx="82">
                  <c:v>3066.149209609529</c:v>
                </c:pt>
                <c:pt idx="83">
                  <c:v>2995.6563044153677</c:v>
                </c:pt>
                <c:pt idx="84">
                  <c:v>2927.2585040506242</c:v>
                </c:pt>
                <c:pt idx="85">
                  <c:v>2860.8866912581957</c:v>
                </c:pt>
                <c:pt idx="86">
                  <c:v>2796.4730925708832</c:v>
                </c:pt>
                <c:pt idx="87">
                  <c:v>2733.9514118582142</c:v>
                </c:pt>
                <c:pt idx="88">
                  <c:v>2673.2569309225064</c:v>
                </c:pt>
                <c:pt idx="89">
                  <c:v>2614.3265568015354</c:v>
                </c:pt>
                <c:pt idx="90">
                  <c:v>2557.0988177556069</c:v>
                </c:pt>
                <c:pt idx="91">
                  <c:v>2501.513845808237</c:v>
                </c:pt>
                <c:pt idx="92">
                  <c:v>2447.5134224730709</c:v>
                </c:pt>
                <c:pt idx="93">
                  <c:v>2395.0409723346834</c:v>
                </c:pt>
                <c:pt idx="94">
                  <c:v>2344.0415388401793</c:v>
                </c:pt>
                <c:pt idx="95">
                  <c:v>2294.4617873935317</c:v>
                </c:pt>
                <c:pt idx="96">
                  <c:v>2246.2500101165147</c:v>
                </c:pt>
                <c:pt idx="97">
                  <c:v>2199.356119954693</c:v>
                </c:pt>
                <c:pt idx="98">
                  <c:v>2153.7316205690654</c:v>
                </c:pt>
                <c:pt idx="99">
                  <c:v>2109.3295667916805</c:v>
                </c:pt>
                <c:pt idx="100">
                  <c:v>2066.1045478985202</c:v>
                </c:pt>
                <c:pt idx="101">
                  <c:v>2024.0126691892413</c:v>
                </c:pt>
                <c:pt idx="102">
                  <c:v>1983.0115196377828</c:v>
                </c:pt>
                <c:pt idx="103">
                  <c:v>1943.060142473583</c:v>
                </c:pt>
                <c:pt idx="104">
                  <c:v>1904.1190045077831</c:v>
                </c:pt>
                <c:pt idx="105">
                  <c:v>1866.14996428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172</c:v>
                </c:pt>
                <c:pt idx="1">
                  <c:v>1216</c:v>
                </c:pt>
                <c:pt idx="2">
                  <c:v>1244</c:v>
                </c:pt>
                <c:pt idx="3">
                  <c:v>1269</c:v>
                </c:pt>
                <c:pt idx="4">
                  <c:v>1272</c:v>
                </c:pt>
                <c:pt idx="5">
                  <c:v>1272</c:v>
                </c:pt>
                <c:pt idx="6">
                  <c:v>1284</c:v>
                </c:pt>
                <c:pt idx="7">
                  <c:v>1366</c:v>
                </c:pt>
                <c:pt idx="8">
                  <c:v>1395</c:v>
                </c:pt>
                <c:pt idx="9">
                  <c:v>1412</c:v>
                </c:pt>
                <c:pt idx="10">
                  <c:v>1465</c:v>
                </c:pt>
                <c:pt idx="11">
                  <c:v>1441</c:v>
                </c:pt>
                <c:pt idx="12">
                  <c:v>1468</c:v>
                </c:pt>
                <c:pt idx="13">
                  <c:v>1505</c:v>
                </c:pt>
                <c:pt idx="14">
                  <c:v>1588</c:v>
                </c:pt>
                <c:pt idx="15">
                  <c:v>1600</c:v>
                </c:pt>
                <c:pt idx="16">
                  <c:v>1626</c:v>
                </c:pt>
                <c:pt idx="17">
                  <c:v>1651</c:v>
                </c:pt>
                <c:pt idx="18">
                  <c:v>1671</c:v>
                </c:pt>
                <c:pt idx="19">
                  <c:v>1674</c:v>
                </c:pt>
                <c:pt idx="20">
                  <c:v>1678</c:v>
                </c:pt>
                <c:pt idx="21">
                  <c:v>1772</c:v>
                </c:pt>
                <c:pt idx="22">
                  <c:v>1801</c:v>
                </c:pt>
                <c:pt idx="23">
                  <c:v>1831</c:v>
                </c:pt>
                <c:pt idx="24">
                  <c:v>1821</c:v>
                </c:pt>
                <c:pt idx="25">
                  <c:v>1836</c:v>
                </c:pt>
                <c:pt idx="26">
                  <c:v>1785</c:v>
                </c:pt>
                <c:pt idx="27">
                  <c:v>1833</c:v>
                </c:pt>
                <c:pt idx="28">
                  <c:v>1891</c:v>
                </c:pt>
                <c:pt idx="29">
                  <c:v>1897</c:v>
                </c:pt>
                <c:pt idx="30">
                  <c:v>1865</c:v>
                </c:pt>
                <c:pt idx="31">
                  <c:v>1864</c:v>
                </c:pt>
                <c:pt idx="32">
                  <c:v>1821</c:v>
                </c:pt>
                <c:pt idx="33">
                  <c:v>1783</c:v>
                </c:pt>
                <c:pt idx="34">
                  <c:v>1807</c:v>
                </c:pt>
                <c:pt idx="35">
                  <c:v>1824</c:v>
                </c:pt>
                <c:pt idx="36">
                  <c:v>1779</c:v>
                </c:pt>
                <c:pt idx="37">
                  <c:v>1746</c:v>
                </c:pt>
                <c:pt idx="38">
                  <c:v>1746</c:v>
                </c:pt>
                <c:pt idx="39">
                  <c:v>1686</c:v>
                </c:pt>
                <c:pt idx="40">
                  <c:v>1652</c:v>
                </c:pt>
                <c:pt idx="41">
                  <c:v>1660</c:v>
                </c:pt>
                <c:pt idx="42">
                  <c:v>1668</c:v>
                </c:pt>
                <c:pt idx="43">
                  <c:v>1620</c:v>
                </c:pt>
                <c:pt idx="44">
                  <c:v>1564</c:v>
                </c:pt>
                <c:pt idx="45">
                  <c:v>1518</c:v>
                </c:pt>
                <c:pt idx="46">
                  <c:v>1438</c:v>
                </c:pt>
                <c:pt idx="47">
                  <c:v>1413</c:v>
                </c:pt>
                <c:pt idx="48">
                  <c:v>1391</c:v>
                </c:pt>
                <c:pt idx="49">
                  <c:v>1362</c:v>
                </c:pt>
                <c:pt idx="50">
                  <c:v>1412</c:v>
                </c:pt>
                <c:pt idx="51">
                  <c:v>1385</c:v>
                </c:pt>
                <c:pt idx="52">
                  <c:v>1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6.3104547602886</c:v>
                </c:pt>
                <c:pt idx="13">
                  <c:v>1638.7589873652551</c:v>
                </c:pt>
                <c:pt idx="14">
                  <c:v>1693.523085677781</c:v>
                </c:pt>
                <c:pt idx="15">
                  <c:v>1749.3825945983685</c:v>
                </c:pt>
                <c:pt idx="16">
                  <c:v>1806.1384933227346</c:v>
                </c:pt>
                <c:pt idx="17">
                  <c:v>1862.4414149520505</c:v>
                </c:pt>
                <c:pt idx="18">
                  <c:v>1916.7861251052313</c:v>
                </c:pt>
                <c:pt idx="19">
                  <c:v>1969.1167545968406</c:v>
                </c:pt>
                <c:pt idx="20">
                  <c:v>2019.361583830326</c:v>
                </c:pt>
                <c:pt idx="21">
                  <c:v>2066.5817071413694</c:v>
                </c:pt>
                <c:pt idx="22">
                  <c:v>2110.3087143467642</c:v>
                </c:pt>
                <c:pt idx="23">
                  <c:v>2150.6648585453836</c:v>
                </c:pt>
                <c:pt idx="24">
                  <c:v>2187.8941664819549</c:v>
                </c:pt>
                <c:pt idx="25">
                  <c:v>2222.2044664862956</c:v>
                </c:pt>
                <c:pt idx="26">
                  <c:v>2253.6071247603572</c:v>
                </c:pt>
                <c:pt idx="27">
                  <c:v>2282.0047982718852</c:v>
                </c:pt>
                <c:pt idx="28">
                  <c:v>2307.1696095755715</c:v>
                </c:pt>
                <c:pt idx="29">
                  <c:v>2329.2269691809834</c:v>
                </c:pt>
                <c:pt idx="30">
                  <c:v>2348.3981570852975</c:v>
                </c:pt>
                <c:pt idx="31">
                  <c:v>2364.8274775730456</c:v>
                </c:pt>
                <c:pt idx="32">
                  <c:v>2378.5807712925471</c:v>
                </c:pt>
                <c:pt idx="33">
                  <c:v>2389.8076447026392</c:v>
                </c:pt>
                <c:pt idx="34">
                  <c:v>2398.702609290754</c:v>
                </c:pt>
                <c:pt idx="35">
                  <c:v>2405.3090688519924</c:v>
                </c:pt>
                <c:pt idx="36">
                  <c:v>2409.7572223255302</c:v>
                </c:pt>
                <c:pt idx="37">
                  <c:v>2412.1534000248585</c:v>
                </c:pt>
                <c:pt idx="38">
                  <c:v>2412.5596992266123</c:v>
                </c:pt>
                <c:pt idx="39">
                  <c:v>2411.1070888266368</c:v>
                </c:pt>
                <c:pt idx="40">
                  <c:v>2407.9286510796333</c:v>
                </c:pt>
                <c:pt idx="41">
                  <c:v>2403.0869531614171</c:v>
                </c:pt>
                <c:pt idx="42">
                  <c:v>2396.6420073806648</c:v>
                </c:pt>
                <c:pt idx="43">
                  <c:v>2388.6872474238439</c:v>
                </c:pt>
                <c:pt idx="44">
                  <c:v>2379.2839086213148</c:v>
                </c:pt>
                <c:pt idx="45">
                  <c:v>2368.4948749344403</c:v>
                </c:pt>
                <c:pt idx="46">
                  <c:v>2356.4078473510149</c:v>
                </c:pt>
                <c:pt idx="47">
                  <c:v>2343.0734068450347</c:v>
                </c:pt>
                <c:pt idx="48">
                  <c:v>2329.1497022912918</c:v>
                </c:pt>
                <c:pt idx="49">
                  <c:v>2314.6955163245343</c:v>
                </c:pt>
                <c:pt idx="50">
                  <c:v>2299.7458731795346</c:v>
                </c:pt>
                <c:pt idx="51">
                  <c:v>2284.348412797844</c:v>
                </c:pt>
                <c:pt idx="52">
                  <c:v>2268.5494810288283</c:v>
                </c:pt>
                <c:pt idx="53">
                  <c:v>2252.3931607174782</c:v>
                </c:pt>
                <c:pt idx="54">
                  <c:v>2235.9259012830057</c:v>
                </c:pt>
                <c:pt idx="55">
                  <c:v>2219.1870040844642</c:v>
                </c:pt>
                <c:pt idx="56">
                  <c:v>2202.2085442544321</c:v>
                </c:pt>
                <c:pt idx="57">
                  <c:v>2185.0146153057758</c:v>
                </c:pt>
                <c:pt idx="58">
                  <c:v>2167.6281263820679</c:v>
                </c:pt>
                <c:pt idx="59">
                  <c:v>2150.0741641454019</c:v>
                </c:pt>
                <c:pt idx="60">
                  <c:v>2132.3831961562933</c:v>
                </c:pt>
                <c:pt idx="61">
                  <c:v>2114.5896199441631</c:v>
                </c:pt>
                <c:pt idx="62">
                  <c:v>2096.7092931008642</c:v>
                </c:pt>
                <c:pt idx="63">
                  <c:v>2078.7607832385324</c:v>
                </c:pt>
                <c:pt idx="64">
                  <c:v>2060.7723134224748</c:v>
                </c:pt>
                <c:pt idx="65">
                  <c:v>2042.7571546435847</c:v>
                </c:pt>
                <c:pt idx="66">
                  <c:v>2024.7250447700098</c:v>
                </c:pt>
                <c:pt idx="67">
                  <c:v>2006.6950739536239</c:v>
                </c:pt>
                <c:pt idx="68">
                  <c:v>1988.6871744209366</c:v>
                </c:pt>
                <c:pt idx="69">
                  <c:v>1970.7128970244712</c:v>
                </c:pt>
                <c:pt idx="70">
                  <c:v>1952.7848083892427</c:v>
                </c:pt>
                <c:pt idx="71">
                  <c:v>1934.9163262632803</c:v>
                </c:pt>
                <c:pt idx="72">
                  <c:v>1917.1185536922528</c:v>
                </c:pt>
                <c:pt idx="73">
                  <c:v>1899.4016265065738</c:v>
                </c:pt>
                <c:pt idx="74">
                  <c:v>1881.7749528868362</c:v>
                </c:pt>
                <c:pt idx="75">
                  <c:v>1864.2472050336164</c:v>
                </c:pt>
                <c:pt idx="76">
                  <c:v>1846.8262084778439</c:v>
                </c:pt>
                <c:pt idx="77">
                  <c:v>1829.5190348033725</c:v>
                </c:pt>
                <c:pt idx="78">
                  <c:v>1812.3320345450568</c:v>
                </c:pt>
                <c:pt idx="79">
                  <c:v>1795.2707989246978</c:v>
                </c:pt>
                <c:pt idx="80">
                  <c:v>1778.3402521878743</c:v>
                </c:pt>
                <c:pt idx="81">
                  <c:v>1761.5447009916561</c:v>
                </c:pt>
                <c:pt idx="82">
                  <c:v>1744.8878432079011</c:v>
                </c:pt>
                <c:pt idx="83">
                  <c:v>1728.3728069481469</c:v>
                </c:pt>
                <c:pt idx="84">
                  <c:v>1712.0021937198203</c:v>
                </c:pt>
                <c:pt idx="85">
                  <c:v>1695.7780965190041</c:v>
                </c:pt>
                <c:pt idx="86">
                  <c:v>1679.7021083152752</c:v>
                </c:pt>
                <c:pt idx="87">
                  <c:v>1663.7753661548199</c:v>
                </c:pt>
                <c:pt idx="88">
                  <c:v>1647.9985905555657</c:v>
                </c:pt>
                <c:pt idx="89">
                  <c:v>1632.372115994777</c:v>
                </c:pt>
                <c:pt idx="90">
                  <c:v>1616.8959123403911</c:v>
                </c:pt>
                <c:pt idx="91">
                  <c:v>1601.5696045297864</c:v>
                </c:pt>
                <c:pt idx="92">
                  <c:v>1586.3925059786125</c:v>
                </c:pt>
                <c:pt idx="93">
                  <c:v>1571.3636421537481</c:v>
                </c:pt>
                <c:pt idx="94">
                  <c:v>1556.4817712153681</c:v>
                </c:pt>
                <c:pt idx="95">
                  <c:v>1541.7454102369252</c:v>
                </c:pt>
                <c:pt idx="96">
                  <c:v>1527.1528618889179</c:v>
                </c:pt>
                <c:pt idx="97">
                  <c:v>1512.7022390676784</c:v>
                </c:pt>
                <c:pt idx="98">
                  <c:v>1498.3914844767855</c:v>
                </c:pt>
                <c:pt idx="99">
                  <c:v>1484.2183880766661</c:v>
                </c:pt>
                <c:pt idx="100">
                  <c:v>1470.1806087597527</c:v>
                </c:pt>
                <c:pt idx="101">
                  <c:v>1456.2756952663613</c:v>
                </c:pt>
                <c:pt idx="102">
                  <c:v>1442.501103792124</c:v>
                </c:pt>
                <c:pt idx="103">
                  <c:v>1428.8542155778123</c:v>
                </c:pt>
                <c:pt idx="104">
                  <c:v>1415.3323535467998</c:v>
                </c:pt>
                <c:pt idx="105">
                  <c:v>1401.9327980108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AE2-42EA-A44F-23A358B5B2EF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5.5007310874776</c:v>
                </c:pt>
                <c:pt idx="13">
                  <c:v>1635.7681414344906</c:v>
                </c:pt>
                <c:pt idx="14">
                  <c:v>1686.6459413709727</c:v>
                </c:pt>
                <c:pt idx="15">
                  <c:v>1736.6972062994382</c:v>
                </c:pt>
                <c:pt idx="16">
                  <c:v>1785.5668310482292</c:v>
                </c:pt>
                <c:pt idx="17">
                  <c:v>1831.7803073311661</c:v>
                </c:pt>
                <c:pt idx="18">
                  <c:v>1873.7327383444128</c:v>
                </c:pt>
                <c:pt idx="19">
                  <c:v>1911.3017099485949</c:v>
                </c:pt>
                <c:pt idx="20">
                  <c:v>1944.3998321745607</c:v>
                </c:pt>
                <c:pt idx="21">
                  <c:v>1972.1209077789231</c:v>
                </c:pt>
                <c:pt idx="22">
                  <c:v>1994.0819013153232</c:v>
                </c:pt>
                <c:pt idx="23">
                  <c:v>2010.5444498965285</c:v>
                </c:pt>
                <c:pt idx="24">
                  <c:v>2021.9285856149725</c:v>
                </c:pt>
                <c:pt idx="25">
                  <c:v>2028.6357887529773</c:v>
                </c:pt>
                <c:pt idx="26">
                  <c:v>2030.8819785750802</c:v>
                </c:pt>
                <c:pt idx="27">
                  <c:v>2028.7826740386824</c:v>
                </c:pt>
                <c:pt idx="28">
                  <c:v>2022.3257505588208</c:v>
                </c:pt>
                <c:pt idx="29">
                  <c:v>2011.8501062717439</c:v>
                </c:pt>
                <c:pt idx="30">
                  <c:v>1997.7838124829086</c:v>
                </c:pt>
                <c:pt idx="31">
                  <c:v>1980.4702853067292</c:v>
                </c:pt>
                <c:pt idx="32">
                  <c:v>1960.1674757716457</c:v>
                </c:pt>
                <c:pt idx="33">
                  <c:v>1937.2111266774778</c:v>
                </c:pt>
                <c:pt idx="34">
                  <c:v>1911.9733800059585</c:v>
                </c:pt>
                <c:pt idx="35">
                  <c:v>1884.6620217178938</c:v>
                </c:pt>
                <c:pt idx="36">
                  <c:v>1855.5572428842452</c:v>
                </c:pt>
                <c:pt idx="37">
                  <c:v>1824.9018650836254</c:v>
                </c:pt>
                <c:pt idx="38">
                  <c:v>1792.882626471993</c:v>
                </c:pt>
                <c:pt idx="39">
                  <c:v>1759.7429516427958</c:v>
                </c:pt>
                <c:pt idx="40">
                  <c:v>1725.7172894635737</c:v>
                </c:pt>
                <c:pt idx="41">
                  <c:v>1690.9588133222865</c:v>
                </c:pt>
                <c:pt idx="42">
                  <c:v>1655.6076905676955</c:v>
                </c:pt>
                <c:pt idx="43">
                  <c:v>1619.8279713073875</c:v>
                </c:pt>
                <c:pt idx="44">
                  <c:v>1583.7418073526183</c:v>
                </c:pt>
                <c:pt idx="45">
                  <c:v>1547.4637668883981</c:v>
                </c:pt>
                <c:pt idx="46">
                  <c:v>1511.1247525038402</c:v>
                </c:pt>
                <c:pt idx="47">
                  <c:v>1474.8108836935994</c:v>
                </c:pt>
                <c:pt idx="48">
                  <c:v>1438.978144907865</c:v>
                </c:pt>
                <c:pt idx="49">
                  <c:v>1403.6856794304822</c:v>
                </c:pt>
                <c:pt idx="50">
                  <c:v>1368.9641255580555</c:v>
                </c:pt>
                <c:pt idx="51">
                  <c:v>1334.852478302394</c:v>
                </c:pt>
                <c:pt idx="52">
                  <c:v>1301.3848468994026</c:v>
                </c:pt>
                <c:pt idx="53">
                  <c:v>1268.5899520742094</c:v>
                </c:pt>
                <c:pt idx="54">
                  <c:v>1236.4961425531139</c:v>
                </c:pt>
                <c:pt idx="55">
                  <c:v>1205.1223348463179</c:v>
                </c:pt>
                <c:pt idx="56">
                  <c:v>1174.4781906348851</c:v>
                </c:pt>
                <c:pt idx="57">
                  <c:v>1144.5636430592238</c:v>
                </c:pt>
                <c:pt idx="58">
                  <c:v>1115.3760255407503</c:v>
                </c:pt>
                <c:pt idx="59">
                  <c:v>1086.9137153317949</c:v>
                </c:pt>
                <c:pt idx="60">
                  <c:v>1059.1795853458041</c:v>
                </c:pt>
                <c:pt idx="61">
                  <c:v>1032.1797728807048</c:v>
                </c:pt>
                <c:pt idx="62">
                  <c:v>1005.9014830149531</c:v>
                </c:pt>
                <c:pt idx="63">
                  <c:v>980.33444333597527</c:v>
                </c:pt>
                <c:pt idx="64">
                  <c:v>955.47794715360544</c:v>
                </c:pt>
                <c:pt idx="65">
                  <c:v>931.31629456528026</c:v>
                </c:pt>
                <c:pt idx="66">
                  <c:v>907.83031536295243</c:v>
                </c:pt>
                <c:pt idx="67">
                  <c:v>885.01042587297877</c:v>
                </c:pt>
                <c:pt idx="68">
                  <c:v>862.84830857946042</c:v>
                </c:pt>
                <c:pt idx="69">
                  <c:v>841.32769772791039</c:v>
                </c:pt>
                <c:pt idx="70">
                  <c:v>820.43388213007427</c:v>
                </c:pt>
                <c:pt idx="71">
                  <c:v>800.15362797435125</c:v>
                </c:pt>
                <c:pt idx="72">
                  <c:v>780.47204692781702</c:v>
                </c:pt>
                <c:pt idx="73">
                  <c:v>761.3739126944937</c:v>
                </c:pt>
                <c:pt idx="74">
                  <c:v>742.84395975791608</c:v>
                </c:pt>
                <c:pt idx="75">
                  <c:v>724.8669258459546</c:v>
                </c:pt>
                <c:pt idx="76">
                  <c:v>707.42747314644134</c:v>
                </c:pt>
                <c:pt idx="77">
                  <c:v>690.51030326744535</c:v>
                </c:pt>
                <c:pt idx="78">
                  <c:v>674.1002036100906</c:v>
                </c:pt>
                <c:pt idx="79">
                  <c:v>658.18201618577052</c:v>
                </c:pt>
                <c:pt idx="80">
                  <c:v>642.74073241279882</c:v>
                </c:pt>
                <c:pt idx="81">
                  <c:v>627.7615427830001</c:v>
                </c:pt>
                <c:pt idx="82">
                  <c:v>613.22984192190586</c:v>
                </c:pt>
                <c:pt idx="83">
                  <c:v>599.13126088307354</c:v>
                </c:pt>
                <c:pt idx="84">
                  <c:v>585.45170081012486</c:v>
                </c:pt>
                <c:pt idx="85">
                  <c:v>572.17733825163918</c:v>
                </c:pt>
                <c:pt idx="86">
                  <c:v>559.2946185141767</c:v>
                </c:pt>
                <c:pt idx="87">
                  <c:v>546.79028237164289</c:v>
                </c:pt>
                <c:pt idx="88">
                  <c:v>534.65138618450135</c:v>
                </c:pt>
                <c:pt idx="89">
                  <c:v>522.86531136030715</c:v>
                </c:pt>
                <c:pt idx="90">
                  <c:v>511.41976355112138</c:v>
                </c:pt>
                <c:pt idx="91">
                  <c:v>500.3027691616474</c:v>
                </c:pt>
                <c:pt idx="92">
                  <c:v>489.50268449461419</c:v>
                </c:pt>
                <c:pt idx="93">
                  <c:v>479.00819446693669</c:v>
                </c:pt>
                <c:pt idx="94">
                  <c:v>468.80830776803589</c:v>
                </c:pt>
                <c:pt idx="95">
                  <c:v>458.89235747870634</c:v>
                </c:pt>
                <c:pt idx="96">
                  <c:v>449.25000202330295</c:v>
                </c:pt>
                <c:pt idx="97">
                  <c:v>439.87122399093863</c:v>
                </c:pt>
                <c:pt idx="98">
                  <c:v>430.7463241138131</c:v>
                </c:pt>
                <c:pt idx="99">
                  <c:v>421.86591335833612</c:v>
                </c:pt>
                <c:pt idx="100">
                  <c:v>413.22090957970408</c:v>
                </c:pt>
                <c:pt idx="101">
                  <c:v>404.80253383784827</c:v>
                </c:pt>
                <c:pt idx="102">
                  <c:v>396.60230392755659</c:v>
                </c:pt>
                <c:pt idx="103">
                  <c:v>388.61202849471664</c:v>
                </c:pt>
                <c:pt idx="104">
                  <c:v>380.82380090155664</c:v>
                </c:pt>
                <c:pt idx="105">
                  <c:v>373.2299928561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99</c:f>
              <c:numCache>
                <c:formatCode>m/d/yyyy</c:formatCode>
                <c:ptCount val="98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</c:numCache>
            </c:numRef>
          </c:cat>
          <c:val>
            <c:numRef>
              <c:f>Sheet1!$B$2:$B$99</c:f>
              <c:numCache>
                <c:formatCode>###0</c:formatCode>
                <c:ptCount val="98"/>
                <c:pt idx="0">
                  <c:v>5051</c:v>
                </c:pt>
                <c:pt idx="1">
                  <c:v>15505</c:v>
                </c:pt>
                <c:pt idx="2">
                  <c:v>14311</c:v>
                </c:pt>
                <c:pt idx="3">
                  <c:v>55226</c:v>
                </c:pt>
                <c:pt idx="4">
                  <c:v>35080</c:v>
                </c:pt>
                <c:pt idx="5">
                  <c:v>29858</c:v>
                </c:pt>
                <c:pt idx="6">
                  <c:v>28239</c:v>
                </c:pt>
                <c:pt idx="7">
                  <c:v>30878</c:v>
                </c:pt>
                <c:pt idx="8">
                  <c:v>14340</c:v>
                </c:pt>
                <c:pt idx="9">
                  <c:v>12523</c:v>
                </c:pt>
                <c:pt idx="10">
                  <c:v>49995</c:v>
                </c:pt>
                <c:pt idx="11">
                  <c:v>30189</c:v>
                </c:pt>
                <c:pt idx="12">
                  <c:v>28153</c:v>
                </c:pt>
                <c:pt idx="13">
                  <c:v>26121</c:v>
                </c:pt>
                <c:pt idx="14">
                  <c:v>28866</c:v>
                </c:pt>
                <c:pt idx="15">
                  <c:v>9919</c:v>
                </c:pt>
                <c:pt idx="16">
                  <c:v>8765</c:v>
                </c:pt>
                <c:pt idx="17">
                  <c:v>41420</c:v>
                </c:pt>
                <c:pt idx="18">
                  <c:v>23659</c:v>
                </c:pt>
                <c:pt idx="19">
                  <c:v>22545</c:v>
                </c:pt>
                <c:pt idx="20">
                  <c:v>23263</c:v>
                </c:pt>
                <c:pt idx="21">
                  <c:v>28366</c:v>
                </c:pt>
                <c:pt idx="22">
                  <c:v>12420</c:v>
                </c:pt>
                <c:pt idx="23">
                  <c:v>10035</c:v>
                </c:pt>
                <c:pt idx="24">
                  <c:v>47199</c:v>
                </c:pt>
                <c:pt idx="25">
                  <c:v>28162</c:v>
                </c:pt>
                <c:pt idx="26">
                  <c:v>28740</c:v>
                </c:pt>
                <c:pt idx="27">
                  <c:v>28241</c:v>
                </c:pt>
                <c:pt idx="28">
                  <c:v>31323</c:v>
                </c:pt>
                <c:pt idx="29">
                  <c:v>16511</c:v>
                </c:pt>
                <c:pt idx="30">
                  <c:v>14815</c:v>
                </c:pt>
                <c:pt idx="31">
                  <c:v>54462</c:v>
                </c:pt>
                <c:pt idx="32">
                  <c:v>33661</c:v>
                </c:pt>
                <c:pt idx="33">
                  <c:v>33035</c:v>
                </c:pt>
                <c:pt idx="34">
                  <c:v>33705</c:v>
                </c:pt>
                <c:pt idx="35">
                  <c:v>36408</c:v>
                </c:pt>
                <c:pt idx="36">
                  <c:v>17163</c:v>
                </c:pt>
                <c:pt idx="37">
                  <c:v>16714</c:v>
                </c:pt>
                <c:pt idx="38">
                  <c:v>55238</c:v>
                </c:pt>
                <c:pt idx="39">
                  <c:v>36603</c:v>
                </c:pt>
                <c:pt idx="40">
                  <c:v>34840</c:v>
                </c:pt>
                <c:pt idx="41">
                  <c:v>35330</c:v>
                </c:pt>
                <c:pt idx="42">
                  <c:v>40530</c:v>
                </c:pt>
                <c:pt idx="43">
                  <c:v>19445</c:v>
                </c:pt>
                <c:pt idx="44">
                  <c:v>20474</c:v>
                </c:pt>
                <c:pt idx="45">
                  <c:v>63291</c:v>
                </c:pt>
                <c:pt idx="46">
                  <c:v>44460</c:v>
                </c:pt>
                <c:pt idx="47">
                  <c:v>43176</c:v>
                </c:pt>
                <c:pt idx="48">
                  <c:v>44829</c:v>
                </c:pt>
                <c:pt idx="49">
                  <c:v>48873</c:v>
                </c:pt>
                <c:pt idx="50">
                  <c:v>21179</c:v>
                </c:pt>
                <c:pt idx="51">
                  <c:v>25329</c:v>
                </c:pt>
                <c:pt idx="52">
                  <c:v>74849</c:v>
                </c:pt>
                <c:pt idx="53">
                  <c:v>55732</c:v>
                </c:pt>
                <c:pt idx="54">
                  <c:v>56821</c:v>
                </c:pt>
                <c:pt idx="55">
                  <c:v>56897</c:v>
                </c:pt>
                <c:pt idx="56">
                  <c:v>60500</c:v>
                </c:pt>
                <c:pt idx="57">
                  <c:v>27218</c:v>
                </c:pt>
                <c:pt idx="58">
                  <c:v>28339</c:v>
                </c:pt>
                <c:pt idx="59">
                  <c:v>89305</c:v>
                </c:pt>
                <c:pt idx="60">
                  <c:v>70265</c:v>
                </c:pt>
                <c:pt idx="61">
                  <c:v>72512</c:v>
                </c:pt>
                <c:pt idx="62">
                  <c:v>84215</c:v>
                </c:pt>
                <c:pt idx="63">
                  <c:v>89922</c:v>
                </c:pt>
                <c:pt idx="64">
                  <c:v>34648</c:v>
                </c:pt>
                <c:pt idx="65">
                  <c:v>34631</c:v>
                </c:pt>
                <c:pt idx="66">
                  <c:v>156757</c:v>
                </c:pt>
                <c:pt idx="67">
                  <c:v>154264</c:v>
                </c:pt>
                <c:pt idx="68">
                  <c:v>156701</c:v>
                </c:pt>
                <c:pt idx="69">
                  <c:v>165380</c:v>
                </c:pt>
                <c:pt idx="70">
                  <c:v>143876</c:v>
                </c:pt>
                <c:pt idx="71">
                  <c:v>48026</c:v>
                </c:pt>
                <c:pt idx="72">
                  <c:v>50501</c:v>
                </c:pt>
                <c:pt idx="73">
                  <c:v>209374</c:v>
                </c:pt>
                <c:pt idx="74">
                  <c:v>173090</c:v>
                </c:pt>
                <c:pt idx="75">
                  <c:v>174494</c:v>
                </c:pt>
                <c:pt idx="76">
                  <c:v>172804</c:v>
                </c:pt>
                <c:pt idx="77">
                  <c:v>140666</c:v>
                </c:pt>
                <c:pt idx="78">
                  <c:v>46240</c:v>
                </c:pt>
                <c:pt idx="79">
                  <c:v>48131</c:v>
                </c:pt>
                <c:pt idx="80">
                  <c:v>227177</c:v>
                </c:pt>
                <c:pt idx="81">
                  <c:v>200379</c:v>
                </c:pt>
                <c:pt idx="82">
                  <c:v>188255</c:v>
                </c:pt>
                <c:pt idx="83">
                  <c:v>184601</c:v>
                </c:pt>
                <c:pt idx="84">
                  <c:v>145507</c:v>
                </c:pt>
                <c:pt idx="85">
                  <c:v>38230</c:v>
                </c:pt>
                <c:pt idx="86">
                  <c:v>42912</c:v>
                </c:pt>
                <c:pt idx="87">
                  <c:v>233447</c:v>
                </c:pt>
                <c:pt idx="88">
                  <c:v>192778</c:v>
                </c:pt>
                <c:pt idx="89">
                  <c:v>186884</c:v>
                </c:pt>
                <c:pt idx="90">
                  <c:v>205676</c:v>
                </c:pt>
                <c:pt idx="91">
                  <c:v>44244</c:v>
                </c:pt>
                <c:pt idx="92">
                  <c:v>31966</c:v>
                </c:pt>
                <c:pt idx="93">
                  <c:v>31629</c:v>
                </c:pt>
                <c:pt idx="94">
                  <c:v>45936</c:v>
                </c:pt>
                <c:pt idx="95">
                  <c:v>274611</c:v>
                </c:pt>
                <c:pt idx="96">
                  <c:v>187702</c:v>
                </c:pt>
                <c:pt idx="97">
                  <c:v>1556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AB-4866-986E-8380A89F16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603348144"/>
        <c:axId val="1603208848"/>
      </c:barChart>
      <c:dateAx>
        <c:axId val="160334814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3208848"/>
        <c:crosses val="autoZero"/>
        <c:auto val="1"/>
        <c:lblOffset val="100"/>
        <c:baseTimeUnit val="days"/>
        <c:majorUnit val="3"/>
      </c:dateAx>
      <c:valAx>
        <c:axId val="1603208848"/>
        <c:scaling>
          <c:orientation val="minMax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3348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67</c:f>
              <c:numCache>
                <c:formatCode>m/d/yyyy</c:formatCode>
                <c:ptCount val="67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</c:numCache>
            </c:numRef>
          </c:cat>
          <c:val>
            <c:numRef>
              <c:f>Sheet1!$B$1:$B$67</c:f>
              <c:numCache>
                <c:formatCode>###0</c:formatCode>
                <c:ptCount val="67"/>
                <c:pt idx="0">
                  <c:v>27495</c:v>
                </c:pt>
                <c:pt idx="1">
                  <c:v>29984</c:v>
                </c:pt>
                <c:pt idx="2">
                  <c:v>31796</c:v>
                </c:pt>
                <c:pt idx="3">
                  <c:v>27744</c:v>
                </c:pt>
                <c:pt idx="4">
                  <c:v>31194</c:v>
                </c:pt>
                <c:pt idx="5">
                  <c:v>14899</c:v>
                </c:pt>
                <c:pt idx="6">
                  <c:v>7819</c:v>
                </c:pt>
                <c:pt idx="7">
                  <c:v>25605</c:v>
                </c:pt>
                <c:pt idx="8">
                  <c:v>31375</c:v>
                </c:pt>
                <c:pt idx="9">
                  <c:v>29928</c:v>
                </c:pt>
                <c:pt idx="10">
                  <c:v>28230</c:v>
                </c:pt>
                <c:pt idx="11">
                  <c:v>31058</c:v>
                </c:pt>
                <c:pt idx="12">
                  <c:v>16458</c:v>
                </c:pt>
                <c:pt idx="13">
                  <c:v>8388</c:v>
                </c:pt>
                <c:pt idx="14">
                  <c:v>29117</c:v>
                </c:pt>
                <c:pt idx="15">
                  <c:v>34541</c:v>
                </c:pt>
                <c:pt idx="16">
                  <c:v>32781</c:v>
                </c:pt>
                <c:pt idx="17">
                  <c:v>34073</c:v>
                </c:pt>
                <c:pt idx="18">
                  <c:v>37505</c:v>
                </c:pt>
                <c:pt idx="19">
                  <c:v>18806</c:v>
                </c:pt>
                <c:pt idx="20">
                  <c:v>9572</c:v>
                </c:pt>
                <c:pt idx="21">
                  <c:v>33899</c:v>
                </c:pt>
                <c:pt idx="22">
                  <c:v>40914</c:v>
                </c:pt>
                <c:pt idx="23">
                  <c:v>40169</c:v>
                </c:pt>
                <c:pt idx="24">
                  <c:v>39765</c:v>
                </c:pt>
                <c:pt idx="25">
                  <c:v>41855</c:v>
                </c:pt>
                <c:pt idx="26">
                  <c:v>23064</c:v>
                </c:pt>
                <c:pt idx="27">
                  <c:v>11706</c:v>
                </c:pt>
                <c:pt idx="28">
                  <c:v>35103</c:v>
                </c:pt>
                <c:pt idx="29">
                  <c:v>44561</c:v>
                </c:pt>
                <c:pt idx="30">
                  <c:v>41145</c:v>
                </c:pt>
                <c:pt idx="31">
                  <c:v>39854</c:v>
                </c:pt>
                <c:pt idx="32">
                  <c:v>42795</c:v>
                </c:pt>
                <c:pt idx="33">
                  <c:v>22005</c:v>
                </c:pt>
                <c:pt idx="34">
                  <c:v>11096</c:v>
                </c:pt>
                <c:pt idx="35">
                  <c:v>32802</c:v>
                </c:pt>
                <c:pt idx="36">
                  <c:v>39767</c:v>
                </c:pt>
                <c:pt idx="37">
                  <c:v>40974</c:v>
                </c:pt>
                <c:pt idx="38">
                  <c:v>35277</c:v>
                </c:pt>
                <c:pt idx="39">
                  <c:v>39756</c:v>
                </c:pt>
                <c:pt idx="40">
                  <c:v>17575</c:v>
                </c:pt>
                <c:pt idx="41">
                  <c:v>8271</c:v>
                </c:pt>
                <c:pt idx="42">
                  <c:v>33473</c:v>
                </c:pt>
                <c:pt idx="43">
                  <c:v>37363</c:v>
                </c:pt>
                <c:pt idx="44">
                  <c:v>34331</c:v>
                </c:pt>
                <c:pt idx="45">
                  <c:v>30842</c:v>
                </c:pt>
                <c:pt idx="46">
                  <c:v>32085</c:v>
                </c:pt>
                <c:pt idx="47">
                  <c:v>17104</c:v>
                </c:pt>
                <c:pt idx="48">
                  <c:v>7951</c:v>
                </c:pt>
                <c:pt idx="49">
                  <c:v>29594</c:v>
                </c:pt>
                <c:pt idx="50">
                  <c:v>33537</c:v>
                </c:pt>
                <c:pt idx="51">
                  <c:v>28208</c:v>
                </c:pt>
                <c:pt idx="52">
                  <c:v>27649</c:v>
                </c:pt>
                <c:pt idx="53">
                  <c:v>27101</c:v>
                </c:pt>
                <c:pt idx="54">
                  <c:v>12613</c:v>
                </c:pt>
                <c:pt idx="55">
                  <c:v>6308</c:v>
                </c:pt>
                <c:pt idx="56">
                  <c:v>26996</c:v>
                </c:pt>
                <c:pt idx="57">
                  <c:v>28964</c:v>
                </c:pt>
                <c:pt idx="58">
                  <c:v>26000</c:v>
                </c:pt>
                <c:pt idx="59">
                  <c:v>24831</c:v>
                </c:pt>
                <c:pt idx="60">
                  <c:v>14627</c:v>
                </c:pt>
                <c:pt idx="61">
                  <c:v>8347</c:v>
                </c:pt>
                <c:pt idx="62">
                  <c:v>7087</c:v>
                </c:pt>
                <c:pt idx="63">
                  <c:v>7572</c:v>
                </c:pt>
                <c:pt idx="64">
                  <c:v>25661</c:v>
                </c:pt>
                <c:pt idx="65">
                  <c:v>27782</c:v>
                </c:pt>
                <c:pt idx="66">
                  <c:v>22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51231934911546E-2"/>
          <c:y val="0.13807894736842105"/>
          <c:w val="0.91692139603581668"/>
          <c:h val="0.65774488304093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7:$A$222</c:f>
              <c:numCache>
                <c:formatCode>m/d/yyyy</c:formatCode>
                <c:ptCount val="146"/>
                <c:pt idx="0">
                  <c:v>44150</c:v>
                </c:pt>
                <c:pt idx="1">
                  <c:v>44151</c:v>
                </c:pt>
                <c:pt idx="2">
                  <c:v>44152</c:v>
                </c:pt>
                <c:pt idx="3">
                  <c:v>44153</c:v>
                </c:pt>
                <c:pt idx="4">
                  <c:v>44154</c:v>
                </c:pt>
                <c:pt idx="5">
                  <c:v>44155</c:v>
                </c:pt>
                <c:pt idx="6">
                  <c:v>44156</c:v>
                </c:pt>
                <c:pt idx="7">
                  <c:v>44157</c:v>
                </c:pt>
                <c:pt idx="8">
                  <c:v>44158</c:v>
                </c:pt>
                <c:pt idx="9">
                  <c:v>44159</c:v>
                </c:pt>
                <c:pt idx="10">
                  <c:v>44160</c:v>
                </c:pt>
                <c:pt idx="11">
                  <c:v>44161</c:v>
                </c:pt>
                <c:pt idx="12">
                  <c:v>44162</c:v>
                </c:pt>
                <c:pt idx="13">
                  <c:v>44163</c:v>
                </c:pt>
                <c:pt idx="14">
                  <c:v>44164</c:v>
                </c:pt>
                <c:pt idx="15">
                  <c:v>44165</c:v>
                </c:pt>
                <c:pt idx="16">
                  <c:v>44166</c:v>
                </c:pt>
                <c:pt idx="17">
                  <c:v>44167</c:v>
                </c:pt>
                <c:pt idx="18">
                  <c:v>44168</c:v>
                </c:pt>
                <c:pt idx="19">
                  <c:v>44169</c:v>
                </c:pt>
                <c:pt idx="20">
                  <c:v>44170</c:v>
                </c:pt>
                <c:pt idx="21">
                  <c:v>44171</c:v>
                </c:pt>
                <c:pt idx="22">
                  <c:v>44172</c:v>
                </c:pt>
                <c:pt idx="23">
                  <c:v>44173</c:v>
                </c:pt>
                <c:pt idx="24">
                  <c:v>44174</c:v>
                </c:pt>
                <c:pt idx="25">
                  <c:v>44175</c:v>
                </c:pt>
                <c:pt idx="26">
                  <c:v>44176</c:v>
                </c:pt>
                <c:pt idx="27">
                  <c:v>44177</c:v>
                </c:pt>
                <c:pt idx="28">
                  <c:v>44178</c:v>
                </c:pt>
                <c:pt idx="29">
                  <c:v>44179</c:v>
                </c:pt>
                <c:pt idx="30">
                  <c:v>44180</c:v>
                </c:pt>
                <c:pt idx="31">
                  <c:v>44181</c:v>
                </c:pt>
                <c:pt idx="32">
                  <c:v>44182</c:v>
                </c:pt>
                <c:pt idx="33">
                  <c:v>44183</c:v>
                </c:pt>
                <c:pt idx="34">
                  <c:v>44184</c:v>
                </c:pt>
                <c:pt idx="35">
                  <c:v>44185</c:v>
                </c:pt>
                <c:pt idx="36">
                  <c:v>44186</c:v>
                </c:pt>
                <c:pt idx="37">
                  <c:v>44187</c:v>
                </c:pt>
                <c:pt idx="38">
                  <c:v>44188</c:v>
                </c:pt>
                <c:pt idx="39">
                  <c:v>44189</c:v>
                </c:pt>
                <c:pt idx="40">
                  <c:v>44190</c:v>
                </c:pt>
                <c:pt idx="41">
                  <c:v>44191</c:v>
                </c:pt>
                <c:pt idx="42">
                  <c:v>44192</c:v>
                </c:pt>
                <c:pt idx="43">
                  <c:v>44193</c:v>
                </c:pt>
                <c:pt idx="44">
                  <c:v>44194</c:v>
                </c:pt>
                <c:pt idx="45">
                  <c:v>44195</c:v>
                </c:pt>
                <c:pt idx="46">
                  <c:v>44196</c:v>
                </c:pt>
                <c:pt idx="47">
                  <c:v>44197</c:v>
                </c:pt>
                <c:pt idx="48">
                  <c:v>44198</c:v>
                </c:pt>
                <c:pt idx="49">
                  <c:v>44199</c:v>
                </c:pt>
                <c:pt idx="50">
                  <c:v>44200</c:v>
                </c:pt>
                <c:pt idx="51">
                  <c:v>44201</c:v>
                </c:pt>
                <c:pt idx="52">
                  <c:v>44202</c:v>
                </c:pt>
                <c:pt idx="53">
                  <c:v>44203</c:v>
                </c:pt>
                <c:pt idx="54">
                  <c:v>44204</c:v>
                </c:pt>
                <c:pt idx="55">
                  <c:v>44205</c:v>
                </c:pt>
                <c:pt idx="56">
                  <c:v>44206</c:v>
                </c:pt>
                <c:pt idx="57">
                  <c:v>44207</c:v>
                </c:pt>
                <c:pt idx="58">
                  <c:v>44208</c:v>
                </c:pt>
                <c:pt idx="59">
                  <c:v>44209</c:v>
                </c:pt>
                <c:pt idx="60">
                  <c:v>44210</c:v>
                </c:pt>
                <c:pt idx="61">
                  <c:v>44211</c:v>
                </c:pt>
                <c:pt idx="62">
                  <c:v>44212</c:v>
                </c:pt>
                <c:pt idx="63">
                  <c:v>44213</c:v>
                </c:pt>
                <c:pt idx="64">
                  <c:v>44214</c:v>
                </c:pt>
                <c:pt idx="65">
                  <c:v>44215</c:v>
                </c:pt>
                <c:pt idx="66">
                  <c:v>44216</c:v>
                </c:pt>
                <c:pt idx="67">
                  <c:v>44217</c:v>
                </c:pt>
                <c:pt idx="68">
                  <c:v>44218</c:v>
                </c:pt>
                <c:pt idx="69">
                  <c:v>44219</c:v>
                </c:pt>
                <c:pt idx="70">
                  <c:v>44220</c:v>
                </c:pt>
                <c:pt idx="71">
                  <c:v>44221</c:v>
                </c:pt>
                <c:pt idx="72">
                  <c:v>44222</c:v>
                </c:pt>
                <c:pt idx="73">
                  <c:v>44223</c:v>
                </c:pt>
                <c:pt idx="74">
                  <c:v>44224</c:v>
                </c:pt>
                <c:pt idx="75">
                  <c:v>44225</c:v>
                </c:pt>
                <c:pt idx="76">
                  <c:v>44226</c:v>
                </c:pt>
                <c:pt idx="77">
                  <c:v>44227</c:v>
                </c:pt>
                <c:pt idx="78">
                  <c:v>44228</c:v>
                </c:pt>
                <c:pt idx="79">
                  <c:v>44229</c:v>
                </c:pt>
                <c:pt idx="80">
                  <c:v>44230</c:v>
                </c:pt>
                <c:pt idx="81">
                  <c:v>44231</c:v>
                </c:pt>
                <c:pt idx="82">
                  <c:v>44232</c:v>
                </c:pt>
                <c:pt idx="83">
                  <c:v>44233</c:v>
                </c:pt>
                <c:pt idx="84">
                  <c:v>44234</c:v>
                </c:pt>
                <c:pt idx="85">
                  <c:v>44235</c:v>
                </c:pt>
                <c:pt idx="86">
                  <c:v>44236</c:v>
                </c:pt>
                <c:pt idx="87">
                  <c:v>44237</c:v>
                </c:pt>
                <c:pt idx="88">
                  <c:v>44238</c:v>
                </c:pt>
                <c:pt idx="89">
                  <c:v>44239</c:v>
                </c:pt>
                <c:pt idx="90">
                  <c:v>44240</c:v>
                </c:pt>
                <c:pt idx="91">
                  <c:v>44241</c:v>
                </c:pt>
                <c:pt idx="92">
                  <c:v>44242</c:v>
                </c:pt>
                <c:pt idx="93">
                  <c:v>44243</c:v>
                </c:pt>
                <c:pt idx="94">
                  <c:v>44244</c:v>
                </c:pt>
                <c:pt idx="95">
                  <c:v>44245</c:v>
                </c:pt>
                <c:pt idx="96">
                  <c:v>44246</c:v>
                </c:pt>
                <c:pt idx="97">
                  <c:v>44247</c:v>
                </c:pt>
                <c:pt idx="98">
                  <c:v>44248</c:v>
                </c:pt>
                <c:pt idx="99">
                  <c:v>44249</c:v>
                </c:pt>
                <c:pt idx="100">
                  <c:v>44250</c:v>
                </c:pt>
                <c:pt idx="101">
                  <c:v>44251</c:v>
                </c:pt>
                <c:pt idx="102">
                  <c:v>44252</c:v>
                </c:pt>
                <c:pt idx="103">
                  <c:v>44253</c:v>
                </c:pt>
                <c:pt idx="104">
                  <c:v>44254</c:v>
                </c:pt>
                <c:pt idx="105">
                  <c:v>44255</c:v>
                </c:pt>
                <c:pt idx="106">
                  <c:v>44256</c:v>
                </c:pt>
                <c:pt idx="107">
                  <c:v>44257</c:v>
                </c:pt>
                <c:pt idx="108">
                  <c:v>44258</c:v>
                </c:pt>
                <c:pt idx="109">
                  <c:v>44259</c:v>
                </c:pt>
                <c:pt idx="110">
                  <c:v>44260</c:v>
                </c:pt>
                <c:pt idx="111">
                  <c:v>44261</c:v>
                </c:pt>
                <c:pt idx="112">
                  <c:v>44262</c:v>
                </c:pt>
                <c:pt idx="113">
                  <c:v>44263</c:v>
                </c:pt>
                <c:pt idx="114">
                  <c:v>44264</c:v>
                </c:pt>
                <c:pt idx="115">
                  <c:v>44265</c:v>
                </c:pt>
                <c:pt idx="116">
                  <c:v>44266</c:v>
                </c:pt>
                <c:pt idx="117">
                  <c:v>44267</c:v>
                </c:pt>
                <c:pt idx="118">
                  <c:v>44268</c:v>
                </c:pt>
                <c:pt idx="119">
                  <c:v>44269</c:v>
                </c:pt>
                <c:pt idx="120">
                  <c:v>44270</c:v>
                </c:pt>
                <c:pt idx="121">
                  <c:v>44271</c:v>
                </c:pt>
                <c:pt idx="122">
                  <c:v>44272</c:v>
                </c:pt>
                <c:pt idx="123">
                  <c:v>44273</c:v>
                </c:pt>
                <c:pt idx="124">
                  <c:v>44274</c:v>
                </c:pt>
                <c:pt idx="125">
                  <c:v>44275</c:v>
                </c:pt>
                <c:pt idx="126">
                  <c:v>44276</c:v>
                </c:pt>
                <c:pt idx="127">
                  <c:v>44277</c:v>
                </c:pt>
                <c:pt idx="128">
                  <c:v>44278</c:v>
                </c:pt>
                <c:pt idx="129">
                  <c:v>44279</c:v>
                </c:pt>
                <c:pt idx="130">
                  <c:v>44280</c:v>
                </c:pt>
                <c:pt idx="131">
                  <c:v>44281</c:v>
                </c:pt>
                <c:pt idx="132">
                  <c:v>44282</c:v>
                </c:pt>
                <c:pt idx="133">
                  <c:v>44283</c:v>
                </c:pt>
                <c:pt idx="134">
                  <c:v>44284</c:v>
                </c:pt>
                <c:pt idx="135">
                  <c:v>44285</c:v>
                </c:pt>
                <c:pt idx="136">
                  <c:v>44286</c:v>
                </c:pt>
                <c:pt idx="137">
                  <c:v>44287</c:v>
                </c:pt>
                <c:pt idx="138">
                  <c:v>44288</c:v>
                </c:pt>
                <c:pt idx="139">
                  <c:v>44289</c:v>
                </c:pt>
                <c:pt idx="140">
                  <c:v>44290</c:v>
                </c:pt>
                <c:pt idx="141">
                  <c:v>44291</c:v>
                </c:pt>
                <c:pt idx="142">
                  <c:v>44292</c:v>
                </c:pt>
                <c:pt idx="143">
                  <c:v>44293</c:v>
                </c:pt>
                <c:pt idx="144">
                  <c:v>44294</c:v>
                </c:pt>
                <c:pt idx="145">
                  <c:v>44295</c:v>
                </c:pt>
              </c:numCache>
            </c:numRef>
          </c:cat>
          <c:val>
            <c:numRef>
              <c:f>Sheet1!$B$77:$B$222</c:f>
              <c:numCache>
                <c:formatCode>General</c:formatCode>
                <c:ptCount val="146"/>
                <c:pt idx="0">
                  <c:v>1622</c:v>
                </c:pt>
                <c:pt idx="1">
                  <c:v>4590</c:v>
                </c:pt>
                <c:pt idx="2">
                  <c:v>3737</c:v>
                </c:pt>
                <c:pt idx="3">
                  <c:v>4746</c:v>
                </c:pt>
                <c:pt idx="4">
                  <c:v>5687</c:v>
                </c:pt>
                <c:pt idx="5">
                  <c:v>5111</c:v>
                </c:pt>
                <c:pt idx="6">
                  <c:v>2818</c:v>
                </c:pt>
                <c:pt idx="7">
                  <c:v>1262</c:v>
                </c:pt>
                <c:pt idx="8">
                  <c:v>3787</c:v>
                </c:pt>
                <c:pt idx="9">
                  <c:v>5116</c:v>
                </c:pt>
                <c:pt idx="10">
                  <c:v>4211</c:v>
                </c:pt>
                <c:pt idx="11">
                  <c:v>3442</c:v>
                </c:pt>
                <c:pt idx="12">
                  <c:v>3722</c:v>
                </c:pt>
                <c:pt idx="13">
                  <c:v>2314</c:v>
                </c:pt>
                <c:pt idx="14">
                  <c:v>900</c:v>
                </c:pt>
                <c:pt idx="15">
                  <c:v>2978</c:v>
                </c:pt>
                <c:pt idx="16">
                  <c:v>4527</c:v>
                </c:pt>
                <c:pt idx="17">
                  <c:v>4046</c:v>
                </c:pt>
                <c:pt idx="18">
                  <c:v>4077</c:v>
                </c:pt>
                <c:pt idx="19">
                  <c:v>4136</c:v>
                </c:pt>
                <c:pt idx="20">
                  <c:v>2945</c:v>
                </c:pt>
                <c:pt idx="21">
                  <c:v>914</c:v>
                </c:pt>
                <c:pt idx="22">
                  <c:v>3665</c:v>
                </c:pt>
                <c:pt idx="23">
                  <c:v>5204</c:v>
                </c:pt>
                <c:pt idx="24">
                  <c:v>5777</c:v>
                </c:pt>
                <c:pt idx="25">
                  <c:v>5294</c:v>
                </c:pt>
                <c:pt idx="26">
                  <c:v>5563</c:v>
                </c:pt>
                <c:pt idx="27">
                  <c:v>3307</c:v>
                </c:pt>
                <c:pt idx="28">
                  <c:v>1720</c:v>
                </c:pt>
                <c:pt idx="29">
                  <c:v>4448</c:v>
                </c:pt>
                <c:pt idx="30">
                  <c:v>6957</c:v>
                </c:pt>
                <c:pt idx="31">
                  <c:v>7298</c:v>
                </c:pt>
                <c:pt idx="32">
                  <c:v>6670</c:v>
                </c:pt>
                <c:pt idx="33">
                  <c:v>7611</c:v>
                </c:pt>
                <c:pt idx="34">
                  <c:v>4311</c:v>
                </c:pt>
                <c:pt idx="35">
                  <c:v>2590</c:v>
                </c:pt>
                <c:pt idx="36">
                  <c:v>6271</c:v>
                </c:pt>
                <c:pt idx="37">
                  <c:v>9016</c:v>
                </c:pt>
                <c:pt idx="38">
                  <c:v>11749</c:v>
                </c:pt>
                <c:pt idx="39">
                  <c:v>3276</c:v>
                </c:pt>
                <c:pt idx="40">
                  <c:v>2084</c:v>
                </c:pt>
                <c:pt idx="41">
                  <c:v>2315</c:v>
                </c:pt>
                <c:pt idx="42">
                  <c:v>2753</c:v>
                </c:pt>
                <c:pt idx="43">
                  <c:v>8832</c:v>
                </c:pt>
                <c:pt idx="44">
                  <c:v>14121</c:v>
                </c:pt>
                <c:pt idx="45">
                  <c:v>14038</c:v>
                </c:pt>
                <c:pt idx="46">
                  <c:v>11083</c:v>
                </c:pt>
                <c:pt idx="47">
                  <c:v>2812</c:v>
                </c:pt>
                <c:pt idx="48">
                  <c:v>3660</c:v>
                </c:pt>
                <c:pt idx="49">
                  <c:v>4546</c:v>
                </c:pt>
                <c:pt idx="50">
                  <c:v>10282</c:v>
                </c:pt>
                <c:pt idx="51">
                  <c:v>14127</c:v>
                </c:pt>
                <c:pt idx="52">
                  <c:v>14874</c:v>
                </c:pt>
                <c:pt idx="53">
                  <c:v>12529</c:v>
                </c:pt>
                <c:pt idx="54">
                  <c:v>11086</c:v>
                </c:pt>
                <c:pt idx="55">
                  <c:v>7028</c:v>
                </c:pt>
                <c:pt idx="56">
                  <c:v>3229</c:v>
                </c:pt>
                <c:pt idx="57">
                  <c:v>7564</c:v>
                </c:pt>
                <c:pt idx="58">
                  <c:v>9073</c:v>
                </c:pt>
                <c:pt idx="59">
                  <c:v>9188</c:v>
                </c:pt>
                <c:pt idx="60">
                  <c:v>6648</c:v>
                </c:pt>
                <c:pt idx="61">
                  <c:v>7926</c:v>
                </c:pt>
                <c:pt idx="62">
                  <c:v>4299</c:v>
                </c:pt>
                <c:pt idx="63">
                  <c:v>2059</c:v>
                </c:pt>
                <c:pt idx="64">
                  <c:v>6275</c:v>
                </c:pt>
                <c:pt idx="65">
                  <c:v>8173</c:v>
                </c:pt>
                <c:pt idx="66">
                  <c:v>7048</c:v>
                </c:pt>
                <c:pt idx="67">
                  <c:v>6217</c:v>
                </c:pt>
                <c:pt idx="68">
                  <c:v>7054</c:v>
                </c:pt>
                <c:pt idx="69">
                  <c:v>3409</c:v>
                </c:pt>
                <c:pt idx="70">
                  <c:v>1821</c:v>
                </c:pt>
                <c:pt idx="71">
                  <c:v>5516</c:v>
                </c:pt>
                <c:pt idx="72">
                  <c:v>7769</c:v>
                </c:pt>
                <c:pt idx="73">
                  <c:v>7122</c:v>
                </c:pt>
                <c:pt idx="74">
                  <c:v>6844</c:v>
                </c:pt>
                <c:pt idx="75">
                  <c:v>6899</c:v>
                </c:pt>
                <c:pt idx="76">
                  <c:v>3257</c:v>
                </c:pt>
                <c:pt idx="77">
                  <c:v>1901</c:v>
                </c:pt>
                <c:pt idx="78">
                  <c:v>5828</c:v>
                </c:pt>
                <c:pt idx="79">
                  <c:v>7522</c:v>
                </c:pt>
                <c:pt idx="80">
                  <c:v>8110</c:v>
                </c:pt>
                <c:pt idx="81">
                  <c:v>6718</c:v>
                </c:pt>
                <c:pt idx="82">
                  <c:v>7146</c:v>
                </c:pt>
                <c:pt idx="83">
                  <c:v>3873</c:v>
                </c:pt>
                <c:pt idx="84">
                  <c:v>1705</c:v>
                </c:pt>
                <c:pt idx="85">
                  <c:v>6055</c:v>
                </c:pt>
                <c:pt idx="86">
                  <c:v>8610</c:v>
                </c:pt>
                <c:pt idx="87">
                  <c:v>7927</c:v>
                </c:pt>
                <c:pt idx="88">
                  <c:v>7411</c:v>
                </c:pt>
                <c:pt idx="89">
                  <c:v>7412</c:v>
                </c:pt>
                <c:pt idx="90">
                  <c:v>3981</c:v>
                </c:pt>
                <c:pt idx="91">
                  <c:v>1907</c:v>
                </c:pt>
                <c:pt idx="92">
                  <c:v>6980</c:v>
                </c:pt>
                <c:pt idx="93">
                  <c:v>10423</c:v>
                </c:pt>
                <c:pt idx="94">
                  <c:v>8906</c:v>
                </c:pt>
                <c:pt idx="95">
                  <c:v>9562</c:v>
                </c:pt>
                <c:pt idx="96">
                  <c:v>9391</c:v>
                </c:pt>
                <c:pt idx="97">
                  <c:v>5274</c:v>
                </c:pt>
                <c:pt idx="98">
                  <c:v>2802</c:v>
                </c:pt>
                <c:pt idx="99">
                  <c:v>9100</c:v>
                </c:pt>
                <c:pt idx="100">
                  <c:v>12953</c:v>
                </c:pt>
                <c:pt idx="101">
                  <c:v>11763</c:v>
                </c:pt>
                <c:pt idx="102">
                  <c:v>11907</c:v>
                </c:pt>
                <c:pt idx="103">
                  <c:v>11833</c:v>
                </c:pt>
                <c:pt idx="104">
                  <c:v>6031</c:v>
                </c:pt>
                <c:pt idx="105">
                  <c:v>3141</c:v>
                </c:pt>
                <c:pt idx="106">
                  <c:v>9745</c:v>
                </c:pt>
                <c:pt idx="107">
                  <c:v>13637</c:v>
                </c:pt>
                <c:pt idx="108">
                  <c:v>12459</c:v>
                </c:pt>
                <c:pt idx="109">
                  <c:v>11932</c:v>
                </c:pt>
                <c:pt idx="110">
                  <c:v>10664</c:v>
                </c:pt>
                <c:pt idx="111">
                  <c:v>7041</c:v>
                </c:pt>
                <c:pt idx="112">
                  <c:v>2675</c:v>
                </c:pt>
                <c:pt idx="113">
                  <c:v>8543</c:v>
                </c:pt>
                <c:pt idx="114">
                  <c:v>12341</c:v>
                </c:pt>
                <c:pt idx="115">
                  <c:v>11879</c:v>
                </c:pt>
                <c:pt idx="116">
                  <c:v>9037</c:v>
                </c:pt>
                <c:pt idx="117">
                  <c:v>11965</c:v>
                </c:pt>
                <c:pt idx="118">
                  <c:v>5133</c:v>
                </c:pt>
                <c:pt idx="119">
                  <c:v>2212</c:v>
                </c:pt>
                <c:pt idx="120">
                  <c:v>8600</c:v>
                </c:pt>
                <c:pt idx="121">
                  <c:v>11400</c:v>
                </c:pt>
                <c:pt idx="122">
                  <c:v>9838</c:v>
                </c:pt>
                <c:pt idx="123">
                  <c:v>8584</c:v>
                </c:pt>
                <c:pt idx="124">
                  <c:v>7629</c:v>
                </c:pt>
                <c:pt idx="125">
                  <c:v>4264</c:v>
                </c:pt>
                <c:pt idx="126">
                  <c:v>1690</c:v>
                </c:pt>
                <c:pt idx="127">
                  <c:v>6524</c:v>
                </c:pt>
                <c:pt idx="128">
                  <c:v>9197</c:v>
                </c:pt>
                <c:pt idx="129">
                  <c:v>7211</c:v>
                </c:pt>
                <c:pt idx="130">
                  <c:v>6247</c:v>
                </c:pt>
                <c:pt idx="131">
                  <c:v>6240</c:v>
                </c:pt>
                <c:pt idx="132">
                  <c:v>2963</c:v>
                </c:pt>
                <c:pt idx="133">
                  <c:v>1197</c:v>
                </c:pt>
                <c:pt idx="134">
                  <c:v>5717</c:v>
                </c:pt>
                <c:pt idx="135">
                  <c:v>7032</c:v>
                </c:pt>
                <c:pt idx="136">
                  <c:v>5858</c:v>
                </c:pt>
                <c:pt idx="137">
                  <c:v>5078</c:v>
                </c:pt>
                <c:pt idx="138">
                  <c:v>2885</c:v>
                </c:pt>
                <c:pt idx="139">
                  <c:v>1715</c:v>
                </c:pt>
                <c:pt idx="140">
                  <c:v>1302</c:v>
                </c:pt>
                <c:pt idx="141">
                  <c:v>996</c:v>
                </c:pt>
                <c:pt idx="142">
                  <c:v>4566</c:v>
                </c:pt>
                <c:pt idx="143">
                  <c:v>5863</c:v>
                </c:pt>
                <c:pt idx="144">
                  <c:v>4287</c:v>
                </c:pt>
                <c:pt idx="145">
                  <c:v>39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D6-40BF-820C-488D15CC7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4901576"/>
        <c:axId val="524901968"/>
      </c:barChart>
      <c:dateAx>
        <c:axId val="5249015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968"/>
        <c:crosses val="autoZero"/>
        <c:auto val="1"/>
        <c:lblOffset val="100"/>
        <c:baseTimeUnit val="days"/>
        <c:majorUnit val="2"/>
        <c:majorTimeUnit val="days"/>
      </c:dateAx>
      <c:valAx>
        <c:axId val="524901968"/>
        <c:scaling>
          <c:orientation val="minMax"/>
          <c:max val="2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576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813385876312507E-2"/>
          <c:y val="2.1062642868505919E-2"/>
          <c:w val="0.86437848759276137"/>
          <c:h val="0.853831594409529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ruhá dávk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Sheet1!$C$2:$DC$2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</c:v>
                </c:pt>
                <c:pt idx="20">
                  <c:v>633</c:v>
                </c:pt>
                <c:pt idx="21">
                  <c:v>2435</c:v>
                </c:pt>
                <c:pt idx="22">
                  <c:v>5133</c:v>
                </c:pt>
                <c:pt idx="23">
                  <c:v>7752</c:v>
                </c:pt>
                <c:pt idx="24">
                  <c:v>9469</c:v>
                </c:pt>
                <c:pt idx="25">
                  <c:v>10502</c:v>
                </c:pt>
                <c:pt idx="26">
                  <c:v>11367</c:v>
                </c:pt>
                <c:pt idx="27">
                  <c:v>12228</c:v>
                </c:pt>
                <c:pt idx="28">
                  <c:v>15167</c:v>
                </c:pt>
                <c:pt idx="29">
                  <c:v>19115</c:v>
                </c:pt>
                <c:pt idx="30">
                  <c:v>23593</c:v>
                </c:pt>
                <c:pt idx="31">
                  <c:v>29672</c:v>
                </c:pt>
                <c:pt idx="32">
                  <c:v>37452</c:v>
                </c:pt>
                <c:pt idx="33">
                  <c:v>38531</c:v>
                </c:pt>
                <c:pt idx="34">
                  <c:v>39668</c:v>
                </c:pt>
                <c:pt idx="35">
                  <c:v>47527</c:v>
                </c:pt>
                <c:pt idx="36">
                  <c:v>57675</c:v>
                </c:pt>
                <c:pt idx="37">
                  <c:v>68613</c:v>
                </c:pt>
                <c:pt idx="38">
                  <c:v>81505</c:v>
                </c:pt>
                <c:pt idx="39">
                  <c:v>92095</c:v>
                </c:pt>
                <c:pt idx="40">
                  <c:v>94423</c:v>
                </c:pt>
                <c:pt idx="41">
                  <c:v>96891</c:v>
                </c:pt>
                <c:pt idx="42">
                  <c:v>108209</c:v>
                </c:pt>
                <c:pt idx="43">
                  <c:v>120044</c:v>
                </c:pt>
                <c:pt idx="44">
                  <c:v>133120</c:v>
                </c:pt>
                <c:pt idx="45">
                  <c:v>149169</c:v>
                </c:pt>
                <c:pt idx="46">
                  <c:v>163767</c:v>
                </c:pt>
                <c:pt idx="47">
                  <c:v>166721</c:v>
                </c:pt>
                <c:pt idx="48">
                  <c:v>168087</c:v>
                </c:pt>
                <c:pt idx="49" formatCode="#,##0">
                  <c:v>177378</c:v>
                </c:pt>
                <c:pt idx="50" formatCode="#,##0">
                  <c:v>186291</c:v>
                </c:pt>
                <c:pt idx="51" formatCode="#,##0">
                  <c:v>194503</c:v>
                </c:pt>
                <c:pt idx="52" formatCode="#,##0">
                  <c:v>202465</c:v>
                </c:pt>
                <c:pt idx="53" formatCode="#,##0">
                  <c:v>209673</c:v>
                </c:pt>
                <c:pt idx="54" formatCode="#,##0">
                  <c:v>210835</c:v>
                </c:pt>
                <c:pt idx="55" formatCode="#,##0">
                  <c:v>211836</c:v>
                </c:pt>
                <c:pt idx="56" formatCode="#,##0">
                  <c:v>217808</c:v>
                </c:pt>
                <c:pt idx="57" formatCode="#,##0">
                  <c:v>224696</c:v>
                </c:pt>
                <c:pt idx="58" formatCode="#,##0">
                  <c:v>230669</c:v>
                </c:pt>
                <c:pt idx="59" formatCode="#,##0">
                  <c:v>236167</c:v>
                </c:pt>
                <c:pt idx="60" formatCode="#,##0">
                  <c:v>241419</c:v>
                </c:pt>
                <c:pt idx="61" formatCode="#,##0">
                  <c:v>241967</c:v>
                </c:pt>
                <c:pt idx="62" formatCode="#,##0">
                  <c:v>242506</c:v>
                </c:pt>
                <c:pt idx="63" formatCode="#,##0">
                  <c:v>245928</c:v>
                </c:pt>
                <c:pt idx="64" formatCode="#,##0">
                  <c:v>249431</c:v>
                </c:pt>
                <c:pt idx="65" formatCode="#,##0">
                  <c:v>253886</c:v>
                </c:pt>
                <c:pt idx="66" formatCode="#,##0">
                  <c:v>258482</c:v>
                </c:pt>
                <c:pt idx="67" formatCode="#,##0">
                  <c:v>263804</c:v>
                </c:pt>
                <c:pt idx="68" formatCode="#,##0">
                  <c:v>264636</c:v>
                </c:pt>
                <c:pt idx="69" formatCode="#,##0">
                  <c:v>265459</c:v>
                </c:pt>
                <c:pt idx="70" formatCode="#,##0">
                  <c:v>270245</c:v>
                </c:pt>
                <c:pt idx="71" formatCode="#,##0">
                  <c:v>276548</c:v>
                </c:pt>
                <c:pt idx="72" formatCode="#,##0">
                  <c:v>283423</c:v>
                </c:pt>
                <c:pt idx="73" formatCode="#,##0">
                  <c:v>291705</c:v>
                </c:pt>
                <c:pt idx="74" formatCode="#,##0">
                  <c:v>300038</c:v>
                </c:pt>
                <c:pt idx="75" formatCode="#,##0">
                  <c:v>301307</c:v>
                </c:pt>
                <c:pt idx="76" formatCode="#,##0">
                  <c:v>302426</c:v>
                </c:pt>
                <c:pt idx="77" formatCode="#,##0">
                  <c:v>311117</c:v>
                </c:pt>
                <c:pt idx="78" formatCode="#,##0">
                  <c:v>321528</c:v>
                </c:pt>
                <c:pt idx="79" formatCode="#,##0">
                  <c:v>331944</c:v>
                </c:pt>
                <c:pt idx="80" formatCode="#,##0">
                  <c:v>344252</c:v>
                </c:pt>
                <c:pt idx="81" formatCode="#,##0">
                  <c:v>357730</c:v>
                </c:pt>
                <c:pt idx="82" formatCode="#,##0">
                  <c:v>359726</c:v>
                </c:pt>
                <c:pt idx="83" formatCode="#,##0">
                  <c:v>361247</c:v>
                </c:pt>
                <c:pt idx="84" formatCode="#,##0">
                  <c:v>373580</c:v>
                </c:pt>
                <c:pt idx="85" formatCode="#,##0">
                  <c:v>386795</c:v>
                </c:pt>
                <c:pt idx="86" formatCode="#,##0">
                  <c:v>402367</c:v>
                </c:pt>
                <c:pt idx="87" formatCode="#,##0">
                  <c:v>420072</c:v>
                </c:pt>
                <c:pt idx="88" formatCode="#,##0">
                  <c:v>437391</c:v>
                </c:pt>
                <c:pt idx="89" formatCode="#,##0">
                  <c:v>442133</c:v>
                </c:pt>
                <c:pt idx="90" formatCode="#,##0">
                  <c:v>446215</c:v>
                </c:pt>
                <c:pt idx="91" formatCode="#,##0">
                  <c:v>466662</c:v>
                </c:pt>
                <c:pt idx="92" formatCode="#,##0">
                  <c:v>488610</c:v>
                </c:pt>
                <c:pt idx="93" formatCode="#,##0">
                  <c:v>515178</c:v>
                </c:pt>
                <c:pt idx="94" formatCode="#,##0">
                  <c:v>546794</c:v>
                </c:pt>
                <c:pt idx="95" formatCode="#,##0">
                  <c:v>559425</c:v>
                </c:pt>
                <c:pt idx="96" formatCode="#,##0">
                  <c:v>570262</c:v>
                </c:pt>
                <c:pt idx="97" formatCode="#,##0">
                  <c:v>578949</c:v>
                </c:pt>
                <c:pt idx="98" formatCode="#,##0">
                  <c:v>586062</c:v>
                </c:pt>
                <c:pt idx="99" formatCode="#,##0">
                  <c:v>614895</c:v>
                </c:pt>
                <c:pt idx="100" formatCode="#,##0">
                  <c:v>636468</c:v>
                </c:pt>
                <c:pt idx="101" formatCode="#,##0">
                  <c:v>666100</c:v>
                </c:pt>
                <c:pt idx="102" formatCode="#,##0">
                  <c:v>694450</c:v>
                </c:pt>
                <c:pt idx="103" formatCode="#,##0">
                  <c:v>709142</c:v>
                </c:pt>
                <c:pt idx="104" formatCode="#,##0">
                  <c:v>718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3-43C0-B046-DC96016FC49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vní dávk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Sheet1!$C$3:$DC$3</c:f>
              <c:numCache>
                <c:formatCode>General</c:formatCode>
                <c:ptCount val="105"/>
                <c:pt idx="0">
                  <c:v>3542</c:v>
                </c:pt>
                <c:pt idx="1">
                  <c:v>6985</c:v>
                </c:pt>
                <c:pt idx="2">
                  <c:v>10451</c:v>
                </c:pt>
                <c:pt idx="3">
                  <c:v>11756</c:v>
                </c:pt>
                <c:pt idx="4">
                  <c:v>12016</c:v>
                </c:pt>
                <c:pt idx="5">
                  <c:v>13265</c:v>
                </c:pt>
                <c:pt idx="6">
                  <c:v>14178</c:v>
                </c:pt>
                <c:pt idx="7">
                  <c:v>17742</c:v>
                </c:pt>
                <c:pt idx="8">
                  <c:v>22234</c:v>
                </c:pt>
                <c:pt idx="9">
                  <c:v>28044</c:v>
                </c:pt>
                <c:pt idx="10">
                  <c:v>35994</c:v>
                </c:pt>
                <c:pt idx="11">
                  <c:v>45915</c:v>
                </c:pt>
                <c:pt idx="12">
                  <c:v>47923</c:v>
                </c:pt>
                <c:pt idx="13">
                  <c:v>49643</c:v>
                </c:pt>
                <c:pt idx="14">
                  <c:v>59421</c:v>
                </c:pt>
                <c:pt idx="15">
                  <c:v>72769</c:v>
                </c:pt>
                <c:pt idx="16">
                  <c:v>86235</c:v>
                </c:pt>
                <c:pt idx="17">
                  <c:v>101392</c:v>
                </c:pt>
                <c:pt idx="18">
                  <c:v>115305</c:v>
                </c:pt>
                <c:pt idx="19">
                  <c:v>118676</c:v>
                </c:pt>
                <c:pt idx="20">
                  <c:v>121269</c:v>
                </c:pt>
                <c:pt idx="21">
                  <c:v>133719</c:v>
                </c:pt>
                <c:pt idx="22">
                  <c:v>146152</c:v>
                </c:pt>
                <c:pt idx="23">
                  <c:v>159689</c:v>
                </c:pt>
                <c:pt idx="24">
                  <c:v>175202</c:v>
                </c:pt>
                <c:pt idx="25">
                  <c:v>189925</c:v>
                </c:pt>
                <c:pt idx="26">
                  <c:v>193190</c:v>
                </c:pt>
                <c:pt idx="27">
                  <c:v>195429</c:v>
                </c:pt>
                <c:pt idx="28">
                  <c:v>205027</c:v>
                </c:pt>
                <c:pt idx="29">
                  <c:v>215509</c:v>
                </c:pt>
                <c:pt idx="30">
                  <c:v>224479</c:v>
                </c:pt>
                <c:pt idx="31">
                  <c:v>231506</c:v>
                </c:pt>
                <c:pt idx="32">
                  <c:v>237679</c:v>
                </c:pt>
                <c:pt idx="33">
                  <c:v>238396</c:v>
                </c:pt>
                <c:pt idx="34">
                  <c:v>239096</c:v>
                </c:pt>
                <c:pt idx="35">
                  <c:v>243029</c:v>
                </c:pt>
                <c:pt idx="36">
                  <c:v>247143</c:v>
                </c:pt>
                <c:pt idx="37">
                  <c:v>251523</c:v>
                </c:pt>
                <c:pt idx="38">
                  <c:v>256386</c:v>
                </c:pt>
                <c:pt idx="39">
                  <c:v>261808</c:v>
                </c:pt>
                <c:pt idx="40">
                  <c:v>262642</c:v>
                </c:pt>
                <c:pt idx="41">
                  <c:v>263485</c:v>
                </c:pt>
                <c:pt idx="42">
                  <c:v>267489</c:v>
                </c:pt>
                <c:pt idx="43">
                  <c:v>272518</c:v>
                </c:pt>
                <c:pt idx="44">
                  <c:v>278030</c:v>
                </c:pt>
                <c:pt idx="45">
                  <c:v>284286</c:v>
                </c:pt>
                <c:pt idx="46">
                  <c:v>290973</c:v>
                </c:pt>
                <c:pt idx="47">
                  <c:v>292540</c:v>
                </c:pt>
                <c:pt idx="48">
                  <c:v>293527</c:v>
                </c:pt>
                <c:pt idx="49" formatCode="#,##0">
                  <c:v>299897</c:v>
                </c:pt>
                <c:pt idx="50" formatCode="#,##0">
                  <c:v>308509</c:v>
                </c:pt>
                <c:pt idx="51" formatCode="#,##0">
                  <c:v>318136</c:v>
                </c:pt>
                <c:pt idx="52" formatCode="#,##0">
                  <c:v>330363</c:v>
                </c:pt>
                <c:pt idx="53" formatCode="#,##0">
                  <c:v>342073</c:v>
                </c:pt>
                <c:pt idx="54" formatCode="#,##0">
                  <c:v>343985</c:v>
                </c:pt>
                <c:pt idx="55" formatCode="#,##0">
                  <c:v>345003</c:v>
                </c:pt>
                <c:pt idx="56" formatCode="#,##0">
                  <c:v>355048</c:v>
                </c:pt>
                <c:pt idx="57" formatCode="#,##0">
                  <c:v>367830</c:v>
                </c:pt>
                <c:pt idx="58" formatCode="#,##0">
                  <c:v>381577</c:v>
                </c:pt>
                <c:pt idx="59" formatCode="#,##0">
                  <c:v>399408</c:v>
                </c:pt>
                <c:pt idx="60" formatCode="#,##0">
                  <c:v>415397</c:v>
                </c:pt>
                <c:pt idx="61" formatCode="#,##0">
                  <c:v>418323</c:v>
                </c:pt>
                <c:pt idx="62" formatCode="#,##0">
                  <c:v>420645</c:v>
                </c:pt>
                <c:pt idx="63" formatCode="#,##0">
                  <c:v>439907</c:v>
                </c:pt>
                <c:pt idx="64" formatCode="#,##0">
                  <c:v>466602</c:v>
                </c:pt>
                <c:pt idx="65" formatCode="#,##0">
                  <c:v>496894</c:v>
                </c:pt>
                <c:pt idx="66" formatCode="#,##0">
                  <c:v>529493</c:v>
                </c:pt>
                <c:pt idx="67" formatCode="#,##0">
                  <c:v>557893</c:v>
                </c:pt>
                <c:pt idx="68" formatCode="#,##0">
                  <c:v>569838</c:v>
                </c:pt>
                <c:pt idx="69" formatCode="#,##0">
                  <c:v>581145</c:v>
                </c:pt>
                <c:pt idx="70" formatCode="#,##0">
                  <c:v>610515</c:v>
                </c:pt>
                <c:pt idx="71" formatCode="#,##0">
                  <c:v>646262</c:v>
                </c:pt>
                <c:pt idx="72" formatCode="#,##0">
                  <c:v>686996</c:v>
                </c:pt>
                <c:pt idx="73" formatCode="#,##0">
                  <c:v>731222</c:v>
                </c:pt>
                <c:pt idx="74" formatCode="#,##0">
                  <c:v>769450</c:v>
                </c:pt>
                <c:pt idx="75" formatCode="#,##0">
                  <c:v>786344</c:v>
                </c:pt>
                <c:pt idx="76" formatCode="#,##0">
                  <c:v>798326</c:v>
                </c:pt>
                <c:pt idx="77" formatCode="#,##0">
                  <c:v>826169</c:v>
                </c:pt>
                <c:pt idx="78" formatCode="#,##0">
                  <c:v>864452</c:v>
                </c:pt>
                <c:pt idx="79" formatCode="#,##0">
                  <c:v>901393</c:v>
                </c:pt>
                <c:pt idx="80" formatCode="#,##0">
                  <c:v>938532</c:v>
                </c:pt>
                <c:pt idx="81" formatCode="#,##0">
                  <c:v>972279</c:v>
                </c:pt>
                <c:pt idx="82" formatCode="#,##0">
                  <c:v>987117</c:v>
                </c:pt>
                <c:pt idx="83" formatCode="#,##0">
                  <c:v>994429</c:v>
                </c:pt>
                <c:pt idx="84" formatCode="#,##0">
                  <c:v>1018399</c:v>
                </c:pt>
                <c:pt idx="85" formatCode="#,##0">
                  <c:v>1044314</c:v>
                </c:pt>
                <c:pt idx="86" formatCode="#,##0">
                  <c:v>1070624</c:v>
                </c:pt>
                <c:pt idx="87" formatCode="#,##0">
                  <c:v>1096480</c:v>
                </c:pt>
                <c:pt idx="88" formatCode="#,##0">
                  <c:v>1120651</c:v>
                </c:pt>
                <c:pt idx="89" formatCode="#,##0">
                  <c:v>1128862</c:v>
                </c:pt>
                <c:pt idx="90" formatCode="#,##0">
                  <c:v>1134299</c:v>
                </c:pt>
                <c:pt idx="91" formatCode="#,##0">
                  <c:v>1153059</c:v>
                </c:pt>
                <c:pt idx="92" formatCode="#,##0">
                  <c:v>1177359</c:v>
                </c:pt>
                <c:pt idx="93" formatCode="#,##0">
                  <c:v>1199878</c:v>
                </c:pt>
                <c:pt idx="94" formatCode="#,##0">
                  <c:v>1224608</c:v>
                </c:pt>
                <c:pt idx="95" formatCode="#,##0">
                  <c:v>1231203</c:v>
                </c:pt>
                <c:pt idx="96" formatCode="#,##0">
                  <c:v>1234635</c:v>
                </c:pt>
                <c:pt idx="97" formatCode="#,##0">
                  <c:v>1237077</c:v>
                </c:pt>
                <c:pt idx="98" formatCode="#,##0">
                  <c:v>1239348</c:v>
                </c:pt>
                <c:pt idx="99" formatCode="#,##0">
                  <c:v>1255025</c:v>
                </c:pt>
                <c:pt idx="100" formatCode="#,##0">
                  <c:v>1277701</c:v>
                </c:pt>
                <c:pt idx="101" formatCode="#,##0">
                  <c:v>1313218</c:v>
                </c:pt>
                <c:pt idx="102" formatCode="#,##0">
                  <c:v>1348205</c:v>
                </c:pt>
                <c:pt idx="103" formatCode="#,##0">
                  <c:v>1362303</c:v>
                </c:pt>
                <c:pt idx="104" formatCode="#,##0">
                  <c:v>1370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43-43C0-B046-DC96016FC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83764288"/>
        <c:axId val="50879584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celkem dávek v ČR</c:v>
                </c:pt>
              </c:strCache>
            </c:strRef>
          </c:tx>
          <c:spPr>
            <a:ln w="698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Sheet1!$C$4:$DC$4</c:f>
              <c:numCache>
                <c:formatCode>0</c:formatCode>
                <c:ptCount val="105"/>
                <c:pt idx="0">
                  <c:v>29250</c:v>
                </c:pt>
                <c:pt idx="1">
                  <c:v>29250</c:v>
                </c:pt>
                <c:pt idx="2">
                  <c:v>29250</c:v>
                </c:pt>
                <c:pt idx="3">
                  <c:v>29250</c:v>
                </c:pt>
                <c:pt idx="4">
                  <c:v>29250</c:v>
                </c:pt>
                <c:pt idx="5">
                  <c:v>29250</c:v>
                </c:pt>
                <c:pt idx="6">
                  <c:v>29250</c:v>
                </c:pt>
                <c:pt idx="7">
                  <c:v>98475</c:v>
                </c:pt>
                <c:pt idx="8">
                  <c:v>98475</c:v>
                </c:pt>
                <c:pt idx="9">
                  <c:v>98475</c:v>
                </c:pt>
                <c:pt idx="10">
                  <c:v>98475</c:v>
                </c:pt>
                <c:pt idx="11">
                  <c:v>98475</c:v>
                </c:pt>
                <c:pt idx="12">
                  <c:v>98475</c:v>
                </c:pt>
                <c:pt idx="13">
                  <c:v>98475</c:v>
                </c:pt>
                <c:pt idx="14">
                  <c:v>169650</c:v>
                </c:pt>
                <c:pt idx="15">
                  <c:v>178050</c:v>
                </c:pt>
                <c:pt idx="16">
                  <c:v>178050</c:v>
                </c:pt>
                <c:pt idx="17">
                  <c:v>178050</c:v>
                </c:pt>
                <c:pt idx="18">
                  <c:v>178050</c:v>
                </c:pt>
                <c:pt idx="19">
                  <c:v>178050</c:v>
                </c:pt>
                <c:pt idx="20">
                  <c:v>178050</c:v>
                </c:pt>
                <c:pt idx="21">
                  <c:v>272820</c:v>
                </c:pt>
                <c:pt idx="22">
                  <c:v>272820</c:v>
                </c:pt>
                <c:pt idx="23">
                  <c:v>272820</c:v>
                </c:pt>
                <c:pt idx="24">
                  <c:v>272820</c:v>
                </c:pt>
                <c:pt idx="25">
                  <c:v>272820</c:v>
                </c:pt>
                <c:pt idx="26">
                  <c:v>272820</c:v>
                </c:pt>
                <c:pt idx="27">
                  <c:v>272820</c:v>
                </c:pt>
                <c:pt idx="28">
                  <c:v>346530</c:v>
                </c:pt>
                <c:pt idx="29">
                  <c:v>346530</c:v>
                </c:pt>
                <c:pt idx="30">
                  <c:v>346530</c:v>
                </c:pt>
                <c:pt idx="31">
                  <c:v>346530</c:v>
                </c:pt>
                <c:pt idx="32">
                  <c:v>346530</c:v>
                </c:pt>
                <c:pt idx="33">
                  <c:v>346530</c:v>
                </c:pt>
                <c:pt idx="34">
                  <c:v>346530</c:v>
                </c:pt>
                <c:pt idx="35">
                  <c:v>426480</c:v>
                </c:pt>
                <c:pt idx="36">
                  <c:v>430680</c:v>
                </c:pt>
                <c:pt idx="37">
                  <c:v>433980</c:v>
                </c:pt>
                <c:pt idx="38">
                  <c:v>434580</c:v>
                </c:pt>
                <c:pt idx="39">
                  <c:v>435680</c:v>
                </c:pt>
                <c:pt idx="40">
                  <c:v>435680</c:v>
                </c:pt>
                <c:pt idx="41">
                  <c:v>435680</c:v>
                </c:pt>
                <c:pt idx="42">
                  <c:v>539800</c:v>
                </c:pt>
                <c:pt idx="43">
                  <c:v>543800</c:v>
                </c:pt>
                <c:pt idx="44">
                  <c:v>552500</c:v>
                </c:pt>
                <c:pt idx="45">
                  <c:v>555000</c:v>
                </c:pt>
                <c:pt idx="46">
                  <c:v>576600</c:v>
                </c:pt>
                <c:pt idx="47">
                  <c:v>576600</c:v>
                </c:pt>
                <c:pt idx="48">
                  <c:v>576600</c:v>
                </c:pt>
                <c:pt idx="49">
                  <c:v>576600</c:v>
                </c:pt>
                <c:pt idx="50">
                  <c:v>643290</c:v>
                </c:pt>
                <c:pt idx="51">
                  <c:v>667860</c:v>
                </c:pt>
                <c:pt idx="52">
                  <c:v>667860</c:v>
                </c:pt>
                <c:pt idx="53">
                  <c:v>703860</c:v>
                </c:pt>
                <c:pt idx="54">
                  <c:v>703860</c:v>
                </c:pt>
                <c:pt idx="55">
                  <c:v>703860</c:v>
                </c:pt>
                <c:pt idx="56" formatCode="#,##0">
                  <c:v>703860</c:v>
                </c:pt>
                <c:pt idx="57" formatCode="#,##0">
                  <c:v>797460</c:v>
                </c:pt>
                <c:pt idx="58" formatCode="#,##0">
                  <c:v>797460</c:v>
                </c:pt>
                <c:pt idx="59" formatCode="#,##0">
                  <c:v>797460</c:v>
                </c:pt>
                <c:pt idx="60" formatCode="#,##0">
                  <c:v>850360</c:v>
                </c:pt>
                <c:pt idx="61" formatCode="#,##0">
                  <c:v>867260</c:v>
                </c:pt>
                <c:pt idx="62">
                  <c:v>867260</c:v>
                </c:pt>
                <c:pt idx="63">
                  <c:v>872860</c:v>
                </c:pt>
                <c:pt idx="64">
                  <c:v>1001550</c:v>
                </c:pt>
                <c:pt idx="65">
                  <c:v>1008150</c:v>
                </c:pt>
                <c:pt idx="66">
                  <c:v>1008150</c:v>
                </c:pt>
                <c:pt idx="67">
                  <c:v>1027250</c:v>
                </c:pt>
                <c:pt idx="68">
                  <c:v>1027250</c:v>
                </c:pt>
                <c:pt idx="69">
                  <c:v>1027250</c:v>
                </c:pt>
                <c:pt idx="70">
                  <c:v>1043550</c:v>
                </c:pt>
                <c:pt idx="71">
                  <c:v>1267550</c:v>
                </c:pt>
                <c:pt idx="72">
                  <c:v>1274550</c:v>
                </c:pt>
                <c:pt idx="73">
                  <c:v>1279750</c:v>
                </c:pt>
                <c:pt idx="74">
                  <c:v>1314150</c:v>
                </c:pt>
                <c:pt idx="75">
                  <c:v>1332050</c:v>
                </c:pt>
                <c:pt idx="76">
                  <c:v>1340250</c:v>
                </c:pt>
                <c:pt idx="77">
                  <c:v>1354850</c:v>
                </c:pt>
                <c:pt idx="78">
                  <c:v>1485270</c:v>
                </c:pt>
                <c:pt idx="79" formatCode="#,##0">
                  <c:v>1493470</c:v>
                </c:pt>
                <c:pt idx="80" formatCode="#,##0">
                  <c:v>1499070</c:v>
                </c:pt>
                <c:pt idx="81" formatCode="#,##0">
                  <c:v>1504970</c:v>
                </c:pt>
                <c:pt idx="82" formatCode="#,##0">
                  <c:v>1504970</c:v>
                </c:pt>
                <c:pt idx="83" formatCode="#,##0">
                  <c:v>1504970</c:v>
                </c:pt>
                <c:pt idx="84" formatCode="#,##0">
                  <c:v>1507170</c:v>
                </c:pt>
                <c:pt idx="85" formatCode="#,##0">
                  <c:v>1671070</c:v>
                </c:pt>
                <c:pt idx="86" formatCode="#,##0">
                  <c:v>1671070</c:v>
                </c:pt>
                <c:pt idx="87" formatCode="#,##0">
                  <c:v>1671070</c:v>
                </c:pt>
                <c:pt idx="88" formatCode="#,##0">
                  <c:v>1728870</c:v>
                </c:pt>
                <c:pt idx="89" formatCode="#,##0">
                  <c:v>1760370</c:v>
                </c:pt>
                <c:pt idx="90" formatCode="#,##0">
                  <c:v>1766070</c:v>
                </c:pt>
                <c:pt idx="91" formatCode="General">
                  <c:v>1769470</c:v>
                </c:pt>
                <c:pt idx="92" formatCode="General">
                  <c:v>1933270</c:v>
                </c:pt>
                <c:pt idx="93" formatCode="General">
                  <c:v>1933270</c:v>
                </c:pt>
                <c:pt idx="94" formatCode="General">
                  <c:v>1964870</c:v>
                </c:pt>
                <c:pt idx="95" formatCode="General">
                  <c:v>1964870</c:v>
                </c:pt>
                <c:pt idx="96" formatCode="General">
                  <c:v>1964870</c:v>
                </c:pt>
                <c:pt idx="97" formatCode="General">
                  <c:v>1964870</c:v>
                </c:pt>
                <c:pt idx="98" formatCode="General">
                  <c:v>1964870</c:v>
                </c:pt>
                <c:pt idx="99" formatCode="General">
                  <c:v>1970170</c:v>
                </c:pt>
                <c:pt idx="100" formatCode="General">
                  <c:v>2255650</c:v>
                </c:pt>
                <c:pt idx="101" formatCode="General">
                  <c:v>2255650</c:v>
                </c:pt>
                <c:pt idx="102" formatCode="General">
                  <c:v>2354150</c:v>
                </c:pt>
                <c:pt idx="103" formatCode="General">
                  <c:v>2354150</c:v>
                </c:pt>
                <c:pt idx="104" formatCode="General">
                  <c:v>2354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D43-43C0-B046-DC96016FC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3764288"/>
        <c:axId val="50879584"/>
      </c:lineChart>
      <c:catAx>
        <c:axId val="38376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1"/>
      </c:catAx>
      <c:valAx>
        <c:axId val="50879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200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66727035727929074"/>
          <c:h val="0.8353430253390468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 ve věku 70-79 celkem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List1!$C$2:$DC$2</c:f>
              <c:numCache>
                <c:formatCode>General</c:formatCode>
                <c:ptCount val="105"/>
                <c:pt idx="0">
                  <c:v>172</c:v>
                </c:pt>
                <c:pt idx="1">
                  <c:v>325</c:v>
                </c:pt>
                <c:pt idx="2">
                  <c:v>483</c:v>
                </c:pt>
                <c:pt idx="3">
                  <c:v>594</c:v>
                </c:pt>
                <c:pt idx="4">
                  <c:v>602</c:v>
                </c:pt>
                <c:pt idx="5">
                  <c:v>640</c:v>
                </c:pt>
                <c:pt idx="6">
                  <c:v>669</c:v>
                </c:pt>
                <c:pt idx="7">
                  <c:v>795</c:v>
                </c:pt>
                <c:pt idx="8">
                  <c:v>942</c:v>
                </c:pt>
                <c:pt idx="9">
                  <c:v>1173</c:v>
                </c:pt>
                <c:pt idx="10">
                  <c:v>1623</c:v>
                </c:pt>
                <c:pt idx="11">
                  <c:v>2124</c:v>
                </c:pt>
                <c:pt idx="12">
                  <c:v>2303</c:v>
                </c:pt>
                <c:pt idx="13">
                  <c:v>2442</c:v>
                </c:pt>
                <c:pt idx="14">
                  <c:v>2893</c:v>
                </c:pt>
                <c:pt idx="15">
                  <c:v>3793</c:v>
                </c:pt>
                <c:pt idx="16">
                  <c:v>4990</c:v>
                </c:pt>
                <c:pt idx="17">
                  <c:v>6406</c:v>
                </c:pt>
                <c:pt idx="18">
                  <c:v>7637</c:v>
                </c:pt>
                <c:pt idx="19">
                  <c:v>7988</c:v>
                </c:pt>
                <c:pt idx="20">
                  <c:v>8217</c:v>
                </c:pt>
                <c:pt idx="21">
                  <c:v>9223</c:v>
                </c:pt>
                <c:pt idx="22">
                  <c:v>10202</c:v>
                </c:pt>
                <c:pt idx="23">
                  <c:v>11325</c:v>
                </c:pt>
                <c:pt idx="24">
                  <c:v>12469</c:v>
                </c:pt>
                <c:pt idx="25">
                  <c:v>13331</c:v>
                </c:pt>
                <c:pt idx="26">
                  <c:v>13539</c:v>
                </c:pt>
                <c:pt idx="27">
                  <c:v>13671</c:v>
                </c:pt>
                <c:pt idx="28">
                  <c:v>14205</c:v>
                </c:pt>
                <c:pt idx="29">
                  <c:v>14844</c:v>
                </c:pt>
                <c:pt idx="30">
                  <c:v>15432</c:v>
                </c:pt>
                <c:pt idx="31">
                  <c:v>16035</c:v>
                </c:pt>
                <c:pt idx="32">
                  <c:v>16683</c:v>
                </c:pt>
                <c:pt idx="33">
                  <c:v>16816</c:v>
                </c:pt>
                <c:pt idx="34">
                  <c:v>16953</c:v>
                </c:pt>
                <c:pt idx="35">
                  <c:v>17565</c:v>
                </c:pt>
                <c:pt idx="36">
                  <c:v>18418</c:v>
                </c:pt>
                <c:pt idx="37">
                  <c:v>19556</c:v>
                </c:pt>
                <c:pt idx="38">
                  <c:v>20883</c:v>
                </c:pt>
                <c:pt idx="39">
                  <c:v>22021</c:v>
                </c:pt>
                <c:pt idx="40">
                  <c:v>22178</c:v>
                </c:pt>
                <c:pt idx="41">
                  <c:v>22344</c:v>
                </c:pt>
                <c:pt idx="42">
                  <c:v>23286</c:v>
                </c:pt>
                <c:pt idx="43">
                  <c:v>24407</c:v>
                </c:pt>
                <c:pt idx="44">
                  <c:v>25713</c:v>
                </c:pt>
                <c:pt idx="45">
                  <c:v>27427</c:v>
                </c:pt>
                <c:pt idx="46">
                  <c:v>28883</c:v>
                </c:pt>
                <c:pt idx="47">
                  <c:v>29214</c:v>
                </c:pt>
                <c:pt idx="48">
                  <c:v>29299</c:v>
                </c:pt>
                <c:pt idx="49">
                  <c:v>30247</c:v>
                </c:pt>
                <c:pt idx="50">
                  <c:v>31447</c:v>
                </c:pt>
                <c:pt idx="51">
                  <c:v>32725</c:v>
                </c:pt>
                <c:pt idx="52">
                  <c:v>34071</c:v>
                </c:pt>
                <c:pt idx="53">
                  <c:v>35338</c:v>
                </c:pt>
                <c:pt idx="54">
                  <c:v>35470</c:v>
                </c:pt>
                <c:pt idx="55">
                  <c:v>35533</c:v>
                </c:pt>
                <c:pt idx="56">
                  <c:v>36393</c:v>
                </c:pt>
                <c:pt idx="57">
                  <c:v>37431</c:v>
                </c:pt>
                <c:pt idx="58">
                  <c:v>38843</c:v>
                </c:pt>
                <c:pt idx="59">
                  <c:v>40509</c:v>
                </c:pt>
                <c:pt idx="60">
                  <c:v>42465</c:v>
                </c:pt>
                <c:pt idx="61">
                  <c:v>42778</c:v>
                </c:pt>
                <c:pt idx="62">
                  <c:v>42919</c:v>
                </c:pt>
                <c:pt idx="63">
                  <c:v>45567</c:v>
                </c:pt>
                <c:pt idx="64">
                  <c:v>50924</c:v>
                </c:pt>
                <c:pt idx="65">
                  <c:v>60098</c:v>
                </c:pt>
                <c:pt idx="66">
                  <c:v>72434</c:v>
                </c:pt>
                <c:pt idx="67">
                  <c:v>84523</c:v>
                </c:pt>
                <c:pt idx="68">
                  <c:v>89446</c:v>
                </c:pt>
                <c:pt idx="69">
                  <c:v>94078</c:v>
                </c:pt>
                <c:pt idx="70">
                  <c:v>108219</c:v>
                </c:pt>
                <c:pt idx="71">
                  <c:v>125710</c:v>
                </c:pt>
                <c:pt idx="72">
                  <c:v>148402</c:v>
                </c:pt>
                <c:pt idx="73">
                  <c:v>173344</c:v>
                </c:pt>
                <c:pt idx="74">
                  <c:v>195762</c:v>
                </c:pt>
                <c:pt idx="75">
                  <c:v>206260</c:v>
                </c:pt>
                <c:pt idx="76">
                  <c:v>213876</c:v>
                </c:pt>
                <c:pt idx="77">
                  <c:v>231578</c:v>
                </c:pt>
                <c:pt idx="78">
                  <c:v>254304</c:v>
                </c:pt>
                <c:pt idx="79">
                  <c:v>277485</c:v>
                </c:pt>
                <c:pt idx="80">
                  <c:v>300953</c:v>
                </c:pt>
                <c:pt idx="81">
                  <c:v>320626</c:v>
                </c:pt>
                <c:pt idx="82">
                  <c:v>329855</c:v>
                </c:pt>
                <c:pt idx="83">
                  <c:v>334706</c:v>
                </c:pt>
                <c:pt idx="84">
                  <c:v>350368</c:v>
                </c:pt>
                <c:pt idx="85">
                  <c:v>367803</c:v>
                </c:pt>
                <c:pt idx="86">
                  <c:v>386491</c:v>
                </c:pt>
                <c:pt idx="87">
                  <c:v>404830</c:v>
                </c:pt>
                <c:pt idx="88">
                  <c:v>421014</c:v>
                </c:pt>
                <c:pt idx="89">
                  <c:v>428003</c:v>
                </c:pt>
                <c:pt idx="90">
                  <c:v>432179</c:v>
                </c:pt>
                <c:pt idx="91">
                  <c:v>449204</c:v>
                </c:pt>
                <c:pt idx="92">
                  <c:v>470144</c:v>
                </c:pt>
                <c:pt idx="93">
                  <c:v>493451</c:v>
                </c:pt>
                <c:pt idx="94">
                  <c:v>520963</c:v>
                </c:pt>
                <c:pt idx="95">
                  <c:v>531197</c:v>
                </c:pt>
                <c:pt idx="96">
                  <c:v>538527</c:v>
                </c:pt>
                <c:pt idx="97">
                  <c:v>544307</c:v>
                </c:pt>
                <c:pt idx="98">
                  <c:v>549471</c:v>
                </c:pt>
                <c:pt idx="99">
                  <c:v>572276</c:v>
                </c:pt>
                <c:pt idx="100">
                  <c:v>595455</c:v>
                </c:pt>
                <c:pt idx="101">
                  <c:v>632551</c:v>
                </c:pt>
                <c:pt idx="102">
                  <c:v>665677</c:v>
                </c:pt>
                <c:pt idx="103">
                  <c:v>682142</c:v>
                </c:pt>
                <c:pt idx="104">
                  <c:v>6935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Osoby ve věku 80+ celkem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List1!$C$3:$DC$3</c:f>
              <c:numCache>
                <c:formatCode>General</c:formatCode>
                <c:ptCount val="105"/>
                <c:pt idx="0">
                  <c:v>123</c:v>
                </c:pt>
                <c:pt idx="1">
                  <c:v>403</c:v>
                </c:pt>
                <c:pt idx="2">
                  <c:v>587</c:v>
                </c:pt>
                <c:pt idx="3">
                  <c:v>705</c:v>
                </c:pt>
                <c:pt idx="4">
                  <c:v>708</c:v>
                </c:pt>
                <c:pt idx="5">
                  <c:v>720</c:v>
                </c:pt>
                <c:pt idx="6">
                  <c:v>723</c:v>
                </c:pt>
                <c:pt idx="7">
                  <c:v>754</c:v>
                </c:pt>
                <c:pt idx="8">
                  <c:v>795</c:v>
                </c:pt>
                <c:pt idx="9">
                  <c:v>862</c:v>
                </c:pt>
                <c:pt idx="10">
                  <c:v>1261</c:v>
                </c:pt>
                <c:pt idx="11">
                  <c:v>2118</c:v>
                </c:pt>
                <c:pt idx="12">
                  <c:v>2304</c:v>
                </c:pt>
                <c:pt idx="13">
                  <c:v>2411</c:v>
                </c:pt>
                <c:pt idx="14">
                  <c:v>3044</c:v>
                </c:pt>
                <c:pt idx="15">
                  <c:v>4695</c:v>
                </c:pt>
                <c:pt idx="16">
                  <c:v>6384</c:v>
                </c:pt>
                <c:pt idx="17">
                  <c:v>8665</c:v>
                </c:pt>
                <c:pt idx="18">
                  <c:v>10944</c:v>
                </c:pt>
                <c:pt idx="19">
                  <c:v>12451</c:v>
                </c:pt>
                <c:pt idx="20">
                  <c:v>14094</c:v>
                </c:pt>
                <c:pt idx="21">
                  <c:v>18836</c:v>
                </c:pt>
                <c:pt idx="22">
                  <c:v>24480</c:v>
                </c:pt>
                <c:pt idx="23">
                  <c:v>30997</c:v>
                </c:pt>
                <c:pt idx="24">
                  <c:v>39264</c:v>
                </c:pt>
                <c:pt idx="25">
                  <c:v>48172</c:v>
                </c:pt>
                <c:pt idx="26">
                  <c:v>50635</c:v>
                </c:pt>
                <c:pt idx="27">
                  <c:v>52466</c:v>
                </c:pt>
                <c:pt idx="28">
                  <c:v>58606</c:v>
                </c:pt>
                <c:pt idx="29">
                  <c:v>64952</c:v>
                </c:pt>
                <c:pt idx="30">
                  <c:v>70428</c:v>
                </c:pt>
                <c:pt idx="31">
                  <c:v>75064</c:v>
                </c:pt>
                <c:pt idx="32">
                  <c:v>79395</c:v>
                </c:pt>
                <c:pt idx="33">
                  <c:v>80023</c:v>
                </c:pt>
                <c:pt idx="34">
                  <c:v>80682</c:v>
                </c:pt>
                <c:pt idx="35">
                  <c:v>83612</c:v>
                </c:pt>
                <c:pt idx="36">
                  <c:v>86936</c:v>
                </c:pt>
                <c:pt idx="37">
                  <c:v>90527</c:v>
                </c:pt>
                <c:pt idx="38">
                  <c:v>95291</c:v>
                </c:pt>
                <c:pt idx="39">
                  <c:v>100028</c:v>
                </c:pt>
                <c:pt idx="40">
                  <c:v>101805</c:v>
                </c:pt>
                <c:pt idx="41">
                  <c:v>103907</c:v>
                </c:pt>
                <c:pt idx="42">
                  <c:v>109946</c:v>
                </c:pt>
                <c:pt idx="43">
                  <c:v>117466</c:v>
                </c:pt>
                <c:pt idx="44">
                  <c:v>126161</c:v>
                </c:pt>
                <c:pt idx="45">
                  <c:v>137298</c:v>
                </c:pt>
                <c:pt idx="46">
                  <c:v>148650</c:v>
                </c:pt>
                <c:pt idx="47">
                  <c:v>151548</c:v>
                </c:pt>
                <c:pt idx="48">
                  <c:v>153336</c:v>
                </c:pt>
                <c:pt idx="49">
                  <c:v>162203</c:v>
                </c:pt>
                <c:pt idx="50">
                  <c:v>172695</c:v>
                </c:pt>
                <c:pt idx="51">
                  <c:v>182821</c:v>
                </c:pt>
                <c:pt idx="52">
                  <c:v>194555</c:v>
                </c:pt>
                <c:pt idx="53">
                  <c:v>205613</c:v>
                </c:pt>
                <c:pt idx="54">
                  <c:v>207786</c:v>
                </c:pt>
                <c:pt idx="55">
                  <c:v>209404</c:v>
                </c:pt>
                <c:pt idx="56">
                  <c:v>219373</c:v>
                </c:pt>
                <c:pt idx="57">
                  <c:v>231267</c:v>
                </c:pt>
                <c:pt idx="58">
                  <c:v>242379</c:v>
                </c:pt>
                <c:pt idx="59">
                  <c:v>255642</c:v>
                </c:pt>
                <c:pt idx="60">
                  <c:v>266952</c:v>
                </c:pt>
                <c:pt idx="61">
                  <c:v>269158</c:v>
                </c:pt>
                <c:pt idx="62">
                  <c:v>270803</c:v>
                </c:pt>
                <c:pt idx="63">
                  <c:v>280657</c:v>
                </c:pt>
                <c:pt idx="64">
                  <c:v>290314</c:v>
                </c:pt>
                <c:pt idx="65">
                  <c:v>300401</c:v>
                </c:pt>
                <c:pt idx="66">
                  <c:v>310770</c:v>
                </c:pt>
                <c:pt idx="67">
                  <c:v>319227</c:v>
                </c:pt>
                <c:pt idx="68">
                  <c:v>321671</c:v>
                </c:pt>
                <c:pt idx="69">
                  <c:v>323845</c:v>
                </c:pt>
                <c:pt idx="70">
                  <c:v>331335</c:v>
                </c:pt>
                <c:pt idx="71">
                  <c:v>340499</c:v>
                </c:pt>
                <c:pt idx="72">
                  <c:v>350352</c:v>
                </c:pt>
                <c:pt idx="73">
                  <c:v>360683</c:v>
                </c:pt>
                <c:pt idx="74">
                  <c:v>368898</c:v>
                </c:pt>
                <c:pt idx="75">
                  <c:v>371190</c:v>
                </c:pt>
                <c:pt idx="76">
                  <c:v>372791</c:v>
                </c:pt>
                <c:pt idx="77">
                  <c:v>380205</c:v>
                </c:pt>
                <c:pt idx="78">
                  <c:v>390050</c:v>
                </c:pt>
                <c:pt idx="79">
                  <c:v>399402</c:v>
                </c:pt>
                <c:pt idx="80">
                  <c:v>410621</c:v>
                </c:pt>
                <c:pt idx="81">
                  <c:v>421362</c:v>
                </c:pt>
                <c:pt idx="82">
                  <c:v>423689</c:v>
                </c:pt>
                <c:pt idx="83">
                  <c:v>425278</c:v>
                </c:pt>
                <c:pt idx="84">
                  <c:v>432898</c:v>
                </c:pt>
                <c:pt idx="85">
                  <c:v>440644</c:v>
                </c:pt>
                <c:pt idx="86">
                  <c:v>448483</c:v>
                </c:pt>
                <c:pt idx="87">
                  <c:v>458091</c:v>
                </c:pt>
                <c:pt idx="88">
                  <c:v>465717</c:v>
                </c:pt>
                <c:pt idx="89">
                  <c:v>467518</c:v>
                </c:pt>
                <c:pt idx="90">
                  <c:v>468837</c:v>
                </c:pt>
                <c:pt idx="91">
                  <c:v>475250</c:v>
                </c:pt>
                <c:pt idx="92">
                  <c:v>481488</c:v>
                </c:pt>
                <c:pt idx="93">
                  <c:v>488292</c:v>
                </c:pt>
                <c:pt idx="94">
                  <c:v>495351</c:v>
                </c:pt>
                <c:pt idx="95">
                  <c:v>497363</c:v>
                </c:pt>
                <c:pt idx="96">
                  <c:v>498832</c:v>
                </c:pt>
                <c:pt idx="97">
                  <c:v>500156</c:v>
                </c:pt>
                <c:pt idx="98">
                  <c:v>501053</c:v>
                </c:pt>
                <c:pt idx="99">
                  <c:v>505344</c:v>
                </c:pt>
                <c:pt idx="100">
                  <c:v>509527</c:v>
                </c:pt>
                <c:pt idx="101">
                  <c:v>515155</c:v>
                </c:pt>
                <c:pt idx="102">
                  <c:v>519793</c:v>
                </c:pt>
                <c:pt idx="103">
                  <c:v>521488</c:v>
                </c:pt>
                <c:pt idx="104">
                  <c:v>5223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Zdravotničtí pracovníci / ochrana veřejného zdraví celkem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List1!$C$4:$DC$4</c:f>
              <c:numCache>
                <c:formatCode>General</c:formatCode>
                <c:ptCount val="105"/>
                <c:pt idx="0">
                  <c:v>3086</c:v>
                </c:pt>
                <c:pt idx="1">
                  <c:v>5934</c:v>
                </c:pt>
                <c:pt idx="2">
                  <c:v>8820</c:v>
                </c:pt>
                <c:pt idx="3">
                  <c:v>9798</c:v>
                </c:pt>
                <c:pt idx="4">
                  <c:v>10043</c:v>
                </c:pt>
                <c:pt idx="5">
                  <c:v>11227</c:v>
                </c:pt>
                <c:pt idx="6">
                  <c:v>12095</c:v>
                </c:pt>
                <c:pt idx="7">
                  <c:v>15391</c:v>
                </c:pt>
                <c:pt idx="8">
                  <c:v>19565</c:v>
                </c:pt>
                <c:pt idx="9">
                  <c:v>24857</c:v>
                </c:pt>
                <c:pt idx="10">
                  <c:v>31338</c:v>
                </c:pt>
                <c:pt idx="11">
                  <c:v>38667</c:v>
                </c:pt>
                <c:pt idx="12">
                  <c:v>39984</c:v>
                </c:pt>
                <c:pt idx="13">
                  <c:v>41148</c:v>
                </c:pt>
                <c:pt idx="14">
                  <c:v>48475</c:v>
                </c:pt>
                <c:pt idx="15">
                  <c:v>57052</c:v>
                </c:pt>
                <c:pt idx="16">
                  <c:v>64555</c:v>
                </c:pt>
                <c:pt idx="17">
                  <c:v>72543</c:v>
                </c:pt>
                <c:pt idx="18">
                  <c:v>79489</c:v>
                </c:pt>
                <c:pt idx="19">
                  <c:v>80589</c:v>
                </c:pt>
                <c:pt idx="20">
                  <c:v>81801</c:v>
                </c:pt>
                <c:pt idx="21">
                  <c:v>88580</c:v>
                </c:pt>
                <c:pt idx="22">
                  <c:v>95079</c:v>
                </c:pt>
                <c:pt idx="23">
                  <c:v>101427</c:v>
                </c:pt>
                <c:pt idx="24">
                  <c:v>107020</c:v>
                </c:pt>
                <c:pt idx="25">
                  <c:v>111255</c:v>
                </c:pt>
                <c:pt idx="26">
                  <c:v>112635</c:v>
                </c:pt>
                <c:pt idx="27">
                  <c:v>113895</c:v>
                </c:pt>
                <c:pt idx="28">
                  <c:v>118798</c:v>
                </c:pt>
                <c:pt idx="29">
                  <c:v>124712</c:v>
                </c:pt>
                <c:pt idx="30">
                  <c:v>130767</c:v>
                </c:pt>
                <c:pt idx="31">
                  <c:v>137579</c:v>
                </c:pt>
                <c:pt idx="32">
                  <c:v>145201</c:v>
                </c:pt>
                <c:pt idx="33">
                  <c:v>145956</c:v>
                </c:pt>
                <c:pt idx="34">
                  <c:v>146699</c:v>
                </c:pt>
                <c:pt idx="35">
                  <c:v>153776</c:v>
                </c:pt>
                <c:pt idx="36">
                  <c:v>161980</c:v>
                </c:pt>
                <c:pt idx="37">
                  <c:v>169800</c:v>
                </c:pt>
                <c:pt idx="38">
                  <c:v>178364</c:v>
                </c:pt>
                <c:pt idx="39">
                  <c:v>185799</c:v>
                </c:pt>
                <c:pt idx="40">
                  <c:v>186807</c:v>
                </c:pt>
                <c:pt idx="41">
                  <c:v>187745</c:v>
                </c:pt>
                <c:pt idx="42">
                  <c:v>194064</c:v>
                </c:pt>
                <c:pt idx="43">
                  <c:v>199684</c:v>
                </c:pt>
                <c:pt idx="44">
                  <c:v>205180</c:v>
                </c:pt>
                <c:pt idx="45">
                  <c:v>210978</c:v>
                </c:pt>
                <c:pt idx="46">
                  <c:v>216379</c:v>
                </c:pt>
                <c:pt idx="47">
                  <c:v>217540</c:v>
                </c:pt>
                <c:pt idx="48">
                  <c:v>218069</c:v>
                </c:pt>
                <c:pt idx="49">
                  <c:v>222617</c:v>
                </c:pt>
                <c:pt idx="50">
                  <c:v>226434</c:v>
                </c:pt>
                <c:pt idx="51">
                  <c:v>229890</c:v>
                </c:pt>
                <c:pt idx="52">
                  <c:v>233655</c:v>
                </c:pt>
                <c:pt idx="53">
                  <c:v>237784</c:v>
                </c:pt>
                <c:pt idx="54">
                  <c:v>238398</c:v>
                </c:pt>
                <c:pt idx="55">
                  <c:v>238667</c:v>
                </c:pt>
                <c:pt idx="56">
                  <c:v>241768</c:v>
                </c:pt>
                <c:pt idx="57">
                  <c:v>245974</c:v>
                </c:pt>
                <c:pt idx="58">
                  <c:v>250022</c:v>
                </c:pt>
                <c:pt idx="59">
                  <c:v>254920</c:v>
                </c:pt>
                <c:pt idx="60">
                  <c:v>259386</c:v>
                </c:pt>
                <c:pt idx="61">
                  <c:v>259808</c:v>
                </c:pt>
                <c:pt idx="62">
                  <c:v>260120</c:v>
                </c:pt>
                <c:pt idx="63">
                  <c:v>263793</c:v>
                </c:pt>
                <c:pt idx="64">
                  <c:v>267937</c:v>
                </c:pt>
                <c:pt idx="65">
                  <c:v>272192</c:v>
                </c:pt>
                <c:pt idx="66">
                  <c:v>275860</c:v>
                </c:pt>
                <c:pt idx="67">
                  <c:v>280346</c:v>
                </c:pt>
                <c:pt idx="68">
                  <c:v>281210</c:v>
                </c:pt>
                <c:pt idx="69">
                  <c:v>281945</c:v>
                </c:pt>
                <c:pt idx="70">
                  <c:v>285268</c:v>
                </c:pt>
                <c:pt idx="71">
                  <c:v>288896</c:v>
                </c:pt>
                <c:pt idx="72">
                  <c:v>292955</c:v>
                </c:pt>
                <c:pt idx="73">
                  <c:v>298129</c:v>
                </c:pt>
                <c:pt idx="74">
                  <c:v>303138</c:v>
                </c:pt>
                <c:pt idx="75">
                  <c:v>304112</c:v>
                </c:pt>
                <c:pt idx="76">
                  <c:v>305095</c:v>
                </c:pt>
                <c:pt idx="77">
                  <c:v>308803</c:v>
                </c:pt>
                <c:pt idx="78">
                  <c:v>313450</c:v>
                </c:pt>
                <c:pt idx="79">
                  <c:v>318161</c:v>
                </c:pt>
                <c:pt idx="80">
                  <c:v>322889</c:v>
                </c:pt>
                <c:pt idx="81">
                  <c:v>328525</c:v>
                </c:pt>
                <c:pt idx="82">
                  <c:v>329985</c:v>
                </c:pt>
                <c:pt idx="83">
                  <c:v>330797</c:v>
                </c:pt>
                <c:pt idx="84">
                  <c:v>334492</c:v>
                </c:pt>
                <c:pt idx="85">
                  <c:v>338378</c:v>
                </c:pt>
                <c:pt idx="86">
                  <c:v>342181</c:v>
                </c:pt>
                <c:pt idx="87">
                  <c:v>346398</c:v>
                </c:pt>
                <c:pt idx="88">
                  <c:v>351235</c:v>
                </c:pt>
                <c:pt idx="89">
                  <c:v>352507</c:v>
                </c:pt>
                <c:pt idx="90">
                  <c:v>353347</c:v>
                </c:pt>
                <c:pt idx="91">
                  <c:v>356781</c:v>
                </c:pt>
                <c:pt idx="92">
                  <c:v>360617</c:v>
                </c:pt>
                <c:pt idx="93">
                  <c:v>364576</c:v>
                </c:pt>
                <c:pt idx="94">
                  <c:v>369073</c:v>
                </c:pt>
                <c:pt idx="95">
                  <c:v>370602</c:v>
                </c:pt>
                <c:pt idx="96">
                  <c:v>371767</c:v>
                </c:pt>
                <c:pt idx="97">
                  <c:v>372517</c:v>
                </c:pt>
                <c:pt idx="98">
                  <c:v>373167</c:v>
                </c:pt>
                <c:pt idx="99">
                  <c:v>377076</c:v>
                </c:pt>
                <c:pt idx="100">
                  <c:v>380170</c:v>
                </c:pt>
                <c:pt idx="101">
                  <c:v>384067</c:v>
                </c:pt>
                <c:pt idx="102">
                  <c:v>388098</c:v>
                </c:pt>
                <c:pt idx="103">
                  <c:v>389575</c:v>
                </c:pt>
                <c:pt idx="104">
                  <c:v>390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Pracovníci a klienti v sociálních službách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Lis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List1!$C$5:$DC$5</c:f>
              <c:numCache>
                <c:formatCode>General</c:formatCode>
                <c:ptCount val="105"/>
                <c:pt idx="0">
                  <c:v>86</c:v>
                </c:pt>
                <c:pt idx="1">
                  <c:v>396</c:v>
                </c:pt>
                <c:pt idx="2">
                  <c:v>685</c:v>
                </c:pt>
                <c:pt idx="3">
                  <c:v>880</c:v>
                </c:pt>
                <c:pt idx="4">
                  <c:v>884</c:v>
                </c:pt>
                <c:pt idx="5">
                  <c:v>884</c:v>
                </c:pt>
                <c:pt idx="6">
                  <c:v>886</c:v>
                </c:pt>
                <c:pt idx="7">
                  <c:v>889</c:v>
                </c:pt>
                <c:pt idx="8">
                  <c:v>901</c:v>
                </c:pt>
                <c:pt idx="9">
                  <c:v>956</c:v>
                </c:pt>
                <c:pt idx="10">
                  <c:v>1570</c:v>
                </c:pt>
                <c:pt idx="11">
                  <c:v>3158</c:v>
                </c:pt>
                <c:pt idx="12">
                  <c:v>3461</c:v>
                </c:pt>
                <c:pt idx="13">
                  <c:v>3539</c:v>
                </c:pt>
                <c:pt idx="14">
                  <c:v>4457</c:v>
                </c:pt>
                <c:pt idx="15">
                  <c:v>6399</c:v>
                </c:pt>
                <c:pt idx="16">
                  <c:v>9266</c:v>
                </c:pt>
                <c:pt idx="17">
                  <c:v>13287</c:v>
                </c:pt>
                <c:pt idx="18">
                  <c:v>17131</c:v>
                </c:pt>
                <c:pt idx="19">
                  <c:v>17747</c:v>
                </c:pt>
                <c:pt idx="20">
                  <c:v>17988</c:v>
                </c:pt>
                <c:pt idx="21">
                  <c:v>20711</c:v>
                </c:pt>
                <c:pt idx="22">
                  <c:v>24231</c:v>
                </c:pt>
                <c:pt idx="23">
                  <c:v>28161</c:v>
                </c:pt>
                <c:pt idx="24">
                  <c:v>31933</c:v>
                </c:pt>
                <c:pt idx="25">
                  <c:v>35015</c:v>
                </c:pt>
                <c:pt idx="26">
                  <c:v>35617</c:v>
                </c:pt>
                <c:pt idx="27">
                  <c:v>35743</c:v>
                </c:pt>
                <c:pt idx="28">
                  <c:v>37665</c:v>
                </c:pt>
                <c:pt idx="29">
                  <c:v>40319</c:v>
                </c:pt>
                <c:pt idx="30">
                  <c:v>42692</c:v>
                </c:pt>
                <c:pt idx="31">
                  <c:v>44488</c:v>
                </c:pt>
                <c:pt idx="32">
                  <c:v>46333</c:v>
                </c:pt>
                <c:pt idx="33">
                  <c:v>46511</c:v>
                </c:pt>
                <c:pt idx="34">
                  <c:v>46574</c:v>
                </c:pt>
                <c:pt idx="35">
                  <c:v>47862</c:v>
                </c:pt>
                <c:pt idx="36">
                  <c:v>49529</c:v>
                </c:pt>
                <c:pt idx="37">
                  <c:v>51721</c:v>
                </c:pt>
                <c:pt idx="38">
                  <c:v>55076</c:v>
                </c:pt>
                <c:pt idx="39">
                  <c:v>58049</c:v>
                </c:pt>
                <c:pt idx="40">
                  <c:v>58091</c:v>
                </c:pt>
                <c:pt idx="41">
                  <c:v>58267</c:v>
                </c:pt>
                <c:pt idx="42">
                  <c:v>60997</c:v>
                </c:pt>
                <c:pt idx="43">
                  <c:v>64768</c:v>
                </c:pt>
                <c:pt idx="44">
                  <c:v>69577</c:v>
                </c:pt>
                <c:pt idx="45">
                  <c:v>75014</c:v>
                </c:pt>
                <c:pt idx="46">
                  <c:v>80035</c:v>
                </c:pt>
                <c:pt idx="47">
                  <c:v>80744</c:v>
                </c:pt>
                <c:pt idx="48">
                  <c:v>80877</c:v>
                </c:pt>
                <c:pt idx="49">
                  <c:v>83191</c:v>
                </c:pt>
                <c:pt idx="50">
                  <c:v>87380</c:v>
                </c:pt>
                <c:pt idx="51">
                  <c:v>92043</c:v>
                </c:pt>
                <c:pt idx="52">
                  <c:v>96610</c:v>
                </c:pt>
                <c:pt idx="53">
                  <c:v>100255</c:v>
                </c:pt>
                <c:pt idx="54">
                  <c:v>100417</c:v>
                </c:pt>
                <c:pt idx="55">
                  <c:v>100420</c:v>
                </c:pt>
                <c:pt idx="56">
                  <c:v>102918</c:v>
                </c:pt>
                <c:pt idx="57">
                  <c:v>105868</c:v>
                </c:pt>
                <c:pt idx="58">
                  <c:v>109169</c:v>
                </c:pt>
                <c:pt idx="59">
                  <c:v>113411</c:v>
                </c:pt>
                <c:pt idx="60">
                  <c:v>116883</c:v>
                </c:pt>
                <c:pt idx="61">
                  <c:v>117052</c:v>
                </c:pt>
                <c:pt idx="62">
                  <c:v>117154</c:v>
                </c:pt>
                <c:pt idx="63">
                  <c:v>118838</c:v>
                </c:pt>
                <c:pt idx="64">
                  <c:v>120905</c:v>
                </c:pt>
                <c:pt idx="65">
                  <c:v>124038</c:v>
                </c:pt>
                <c:pt idx="66">
                  <c:v>126896</c:v>
                </c:pt>
                <c:pt idx="67">
                  <c:v>129905</c:v>
                </c:pt>
                <c:pt idx="68">
                  <c:v>130324</c:v>
                </c:pt>
                <c:pt idx="69">
                  <c:v>130624</c:v>
                </c:pt>
                <c:pt idx="70">
                  <c:v>131809</c:v>
                </c:pt>
                <c:pt idx="71">
                  <c:v>134256</c:v>
                </c:pt>
                <c:pt idx="72">
                  <c:v>137558</c:v>
                </c:pt>
                <c:pt idx="73">
                  <c:v>141321</c:v>
                </c:pt>
                <c:pt idx="74">
                  <c:v>144450</c:v>
                </c:pt>
                <c:pt idx="75">
                  <c:v>144864</c:v>
                </c:pt>
                <c:pt idx="76">
                  <c:v>144974</c:v>
                </c:pt>
                <c:pt idx="77">
                  <c:v>147277</c:v>
                </c:pt>
                <c:pt idx="78">
                  <c:v>150318</c:v>
                </c:pt>
                <c:pt idx="79">
                  <c:v>152805</c:v>
                </c:pt>
                <c:pt idx="80">
                  <c:v>155472</c:v>
                </c:pt>
                <c:pt idx="81">
                  <c:v>158354</c:v>
                </c:pt>
                <c:pt idx="82">
                  <c:v>158410</c:v>
                </c:pt>
                <c:pt idx="83">
                  <c:v>158426</c:v>
                </c:pt>
                <c:pt idx="84">
                  <c:v>159474</c:v>
                </c:pt>
                <c:pt idx="85">
                  <c:v>161060</c:v>
                </c:pt>
                <c:pt idx="86">
                  <c:v>163305</c:v>
                </c:pt>
                <c:pt idx="87">
                  <c:v>165509</c:v>
                </c:pt>
                <c:pt idx="88">
                  <c:v>168098</c:v>
                </c:pt>
                <c:pt idx="89">
                  <c:v>168250</c:v>
                </c:pt>
                <c:pt idx="90">
                  <c:v>168410</c:v>
                </c:pt>
                <c:pt idx="91">
                  <c:v>169374</c:v>
                </c:pt>
                <c:pt idx="92">
                  <c:v>170804</c:v>
                </c:pt>
                <c:pt idx="93">
                  <c:v>173014</c:v>
                </c:pt>
                <c:pt idx="94">
                  <c:v>175319</c:v>
                </c:pt>
                <c:pt idx="95">
                  <c:v>175586</c:v>
                </c:pt>
                <c:pt idx="96">
                  <c:v>175737</c:v>
                </c:pt>
                <c:pt idx="97">
                  <c:v>175781</c:v>
                </c:pt>
                <c:pt idx="98">
                  <c:v>175811</c:v>
                </c:pt>
                <c:pt idx="99">
                  <c:v>177488</c:v>
                </c:pt>
                <c:pt idx="100">
                  <c:v>179022</c:v>
                </c:pt>
                <c:pt idx="101">
                  <c:v>181372</c:v>
                </c:pt>
                <c:pt idx="102">
                  <c:v>182765</c:v>
                </c:pt>
                <c:pt idx="103">
                  <c:v>182868</c:v>
                </c:pt>
                <c:pt idx="104">
                  <c:v>182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Ostatní</c:v>
                </c:pt>
              </c:strCache>
            </c:strRef>
          </c:tx>
          <c:spPr>
            <a:ln w="28575" cap="rnd">
              <a:solidFill>
                <a:srgbClr val="FFFFFF">
                  <a:lumMod val="50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Lis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List1!$C$6:$DC$6</c:f>
              <c:numCache>
                <c:formatCode>General</c:formatCode>
                <c:ptCount val="105"/>
                <c:pt idx="0">
                  <c:v>246</c:v>
                </c:pt>
                <c:pt idx="1">
                  <c:v>441</c:v>
                </c:pt>
                <c:pt idx="2">
                  <c:v>688</c:v>
                </c:pt>
                <c:pt idx="3">
                  <c:v>773</c:v>
                </c:pt>
                <c:pt idx="4">
                  <c:v>780</c:v>
                </c:pt>
                <c:pt idx="5">
                  <c:v>830</c:v>
                </c:pt>
                <c:pt idx="6">
                  <c:v>864</c:v>
                </c:pt>
                <c:pt idx="7">
                  <c:v>1067</c:v>
                </c:pt>
                <c:pt idx="8">
                  <c:v>1284</c:v>
                </c:pt>
                <c:pt idx="9">
                  <c:v>1610</c:v>
                </c:pt>
                <c:pt idx="10">
                  <c:v>2254</c:v>
                </c:pt>
                <c:pt idx="11">
                  <c:v>3088</c:v>
                </c:pt>
                <c:pt idx="12">
                  <c:v>3363</c:v>
                </c:pt>
                <c:pt idx="13">
                  <c:v>3690</c:v>
                </c:pt>
                <c:pt idx="14">
                  <c:v>4978</c:v>
                </c:pt>
                <c:pt idx="15">
                  <c:v>6980</c:v>
                </c:pt>
                <c:pt idx="16">
                  <c:v>9168</c:v>
                </c:pt>
                <c:pt idx="17">
                  <c:v>11305</c:v>
                </c:pt>
                <c:pt idx="18">
                  <c:v>13255</c:v>
                </c:pt>
                <c:pt idx="19">
                  <c:v>13554</c:v>
                </c:pt>
                <c:pt idx="20">
                  <c:v>13743</c:v>
                </c:pt>
                <c:pt idx="21">
                  <c:v>14574</c:v>
                </c:pt>
                <c:pt idx="22">
                  <c:v>15296</c:v>
                </c:pt>
                <c:pt idx="23">
                  <c:v>16061</c:v>
                </c:pt>
                <c:pt idx="24">
                  <c:v>16778</c:v>
                </c:pt>
                <c:pt idx="25">
                  <c:v>17289</c:v>
                </c:pt>
                <c:pt idx="26">
                  <c:v>17406</c:v>
                </c:pt>
                <c:pt idx="27">
                  <c:v>17495</c:v>
                </c:pt>
                <c:pt idx="28">
                  <c:v>17848</c:v>
                </c:pt>
                <c:pt idx="29">
                  <c:v>18250</c:v>
                </c:pt>
                <c:pt idx="30">
                  <c:v>18640</c:v>
                </c:pt>
                <c:pt idx="31">
                  <c:v>19134</c:v>
                </c:pt>
                <c:pt idx="32">
                  <c:v>19897</c:v>
                </c:pt>
                <c:pt idx="33">
                  <c:v>20107</c:v>
                </c:pt>
                <c:pt idx="34">
                  <c:v>20426</c:v>
                </c:pt>
                <c:pt idx="35">
                  <c:v>21433</c:v>
                </c:pt>
                <c:pt idx="36">
                  <c:v>23085</c:v>
                </c:pt>
                <c:pt idx="37">
                  <c:v>25096</c:v>
                </c:pt>
                <c:pt idx="38">
                  <c:v>27240</c:v>
                </c:pt>
                <c:pt idx="39">
                  <c:v>29028</c:v>
                </c:pt>
                <c:pt idx="40">
                  <c:v>29339</c:v>
                </c:pt>
                <c:pt idx="41">
                  <c:v>29524</c:v>
                </c:pt>
                <c:pt idx="42">
                  <c:v>30510</c:v>
                </c:pt>
                <c:pt idx="43">
                  <c:v>31583</c:v>
                </c:pt>
                <c:pt idx="44">
                  <c:v>32789</c:v>
                </c:pt>
                <c:pt idx="45">
                  <c:v>34127</c:v>
                </c:pt>
                <c:pt idx="46">
                  <c:v>35033</c:v>
                </c:pt>
                <c:pt idx="47">
                  <c:v>35151</c:v>
                </c:pt>
                <c:pt idx="48">
                  <c:v>35223</c:v>
                </c:pt>
                <c:pt idx="49">
                  <c:v>35939</c:v>
                </c:pt>
                <c:pt idx="50">
                  <c:v>36533</c:v>
                </c:pt>
                <c:pt idx="51">
                  <c:v>37532</c:v>
                </c:pt>
                <c:pt idx="52">
                  <c:v>38684</c:v>
                </c:pt>
                <c:pt idx="53">
                  <c:v>39947</c:v>
                </c:pt>
                <c:pt idx="54">
                  <c:v>40124</c:v>
                </c:pt>
                <c:pt idx="55">
                  <c:v>40232</c:v>
                </c:pt>
                <c:pt idx="56">
                  <c:v>41379</c:v>
                </c:pt>
                <c:pt idx="57">
                  <c:v>42597</c:v>
                </c:pt>
                <c:pt idx="58">
                  <c:v>44247</c:v>
                </c:pt>
                <c:pt idx="59">
                  <c:v>45951</c:v>
                </c:pt>
                <c:pt idx="60">
                  <c:v>48069</c:v>
                </c:pt>
                <c:pt idx="61">
                  <c:v>48502</c:v>
                </c:pt>
                <c:pt idx="62">
                  <c:v>49036</c:v>
                </c:pt>
                <c:pt idx="63">
                  <c:v>51654</c:v>
                </c:pt>
                <c:pt idx="64">
                  <c:v>55530</c:v>
                </c:pt>
                <c:pt idx="65">
                  <c:v>59275</c:v>
                </c:pt>
                <c:pt idx="66">
                  <c:v>62456</c:v>
                </c:pt>
                <c:pt idx="67">
                  <c:v>65289</c:v>
                </c:pt>
                <c:pt idx="68">
                  <c:v>66624</c:v>
                </c:pt>
                <c:pt idx="69">
                  <c:v>67985</c:v>
                </c:pt>
                <c:pt idx="70">
                  <c:v>70861</c:v>
                </c:pt>
                <c:pt idx="71">
                  <c:v>74107</c:v>
                </c:pt>
                <c:pt idx="72">
                  <c:v>77038</c:v>
                </c:pt>
                <c:pt idx="73">
                  <c:v>80765</c:v>
                </c:pt>
                <c:pt idx="74">
                  <c:v>84538</c:v>
                </c:pt>
                <c:pt idx="75">
                  <c:v>85833</c:v>
                </c:pt>
                <c:pt idx="76">
                  <c:v>86995</c:v>
                </c:pt>
                <c:pt idx="77">
                  <c:v>90095</c:v>
                </c:pt>
                <c:pt idx="78">
                  <c:v>93547</c:v>
                </c:pt>
                <c:pt idx="79">
                  <c:v>96885</c:v>
                </c:pt>
                <c:pt idx="80">
                  <c:v>99899</c:v>
                </c:pt>
                <c:pt idx="81">
                  <c:v>103555</c:v>
                </c:pt>
                <c:pt idx="82">
                  <c:v>104793</c:v>
                </c:pt>
                <c:pt idx="83">
                  <c:v>105635</c:v>
                </c:pt>
                <c:pt idx="84">
                  <c:v>108355</c:v>
                </c:pt>
                <c:pt idx="85">
                  <c:v>111364</c:v>
                </c:pt>
                <c:pt idx="86">
                  <c:v>115387</c:v>
                </c:pt>
                <c:pt idx="87">
                  <c:v>119276</c:v>
                </c:pt>
                <c:pt idx="88">
                  <c:v>123453</c:v>
                </c:pt>
                <c:pt idx="89">
                  <c:v>124612</c:v>
                </c:pt>
                <c:pt idx="90">
                  <c:v>125993</c:v>
                </c:pt>
                <c:pt idx="91">
                  <c:v>129819</c:v>
                </c:pt>
                <c:pt idx="92">
                  <c:v>134214</c:v>
                </c:pt>
                <c:pt idx="93">
                  <c:v>138891</c:v>
                </c:pt>
                <c:pt idx="94">
                  <c:v>144903</c:v>
                </c:pt>
                <c:pt idx="95">
                  <c:v>147069</c:v>
                </c:pt>
                <c:pt idx="96">
                  <c:v>149184</c:v>
                </c:pt>
                <c:pt idx="97">
                  <c:v>150582</c:v>
                </c:pt>
                <c:pt idx="98">
                  <c:v>152192</c:v>
                </c:pt>
                <c:pt idx="99">
                  <c:v>157473</c:v>
                </c:pt>
                <c:pt idx="100">
                  <c:v>161590</c:v>
                </c:pt>
                <c:pt idx="101">
                  <c:v>168470</c:v>
                </c:pt>
                <c:pt idx="102">
                  <c:v>176706</c:v>
                </c:pt>
                <c:pt idx="103">
                  <c:v>180072</c:v>
                </c:pt>
                <c:pt idx="104">
                  <c:v>181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19-41FB-ABC8-408C7891462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Pracovníci ve školství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List1!$C$7:$DC$7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5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7</c:v>
                </c:pt>
                <c:pt idx="44">
                  <c:v>8</c:v>
                </c:pt>
                <c:pt idx="45">
                  <c:v>9</c:v>
                </c:pt>
                <c:pt idx="46">
                  <c:v>10</c:v>
                </c:pt>
                <c:pt idx="47">
                  <c:v>11</c:v>
                </c:pt>
                <c:pt idx="48">
                  <c:v>11</c:v>
                </c:pt>
                <c:pt idx="49">
                  <c:v>11</c:v>
                </c:pt>
                <c:pt idx="50">
                  <c:v>12</c:v>
                </c:pt>
                <c:pt idx="51">
                  <c:v>13</c:v>
                </c:pt>
                <c:pt idx="52">
                  <c:v>15</c:v>
                </c:pt>
                <c:pt idx="53">
                  <c:v>17</c:v>
                </c:pt>
                <c:pt idx="54">
                  <c:v>20</c:v>
                </c:pt>
                <c:pt idx="55">
                  <c:v>20</c:v>
                </c:pt>
                <c:pt idx="56">
                  <c:v>22</c:v>
                </c:pt>
                <c:pt idx="57">
                  <c:v>23</c:v>
                </c:pt>
                <c:pt idx="58">
                  <c:v>30</c:v>
                </c:pt>
                <c:pt idx="59">
                  <c:v>75</c:v>
                </c:pt>
                <c:pt idx="60">
                  <c:v>130</c:v>
                </c:pt>
                <c:pt idx="61">
                  <c:v>165</c:v>
                </c:pt>
                <c:pt idx="62">
                  <c:v>357</c:v>
                </c:pt>
                <c:pt idx="63">
                  <c:v>3741</c:v>
                </c:pt>
                <c:pt idx="64">
                  <c:v>10332</c:v>
                </c:pt>
                <c:pt idx="65">
                  <c:v>16213</c:v>
                </c:pt>
                <c:pt idx="66">
                  <c:v>22729</c:v>
                </c:pt>
                <c:pt idx="67">
                  <c:v>27383</c:v>
                </c:pt>
                <c:pt idx="68">
                  <c:v>29928</c:v>
                </c:pt>
                <c:pt idx="69">
                  <c:v>32457</c:v>
                </c:pt>
                <c:pt idx="70">
                  <c:v>38116</c:v>
                </c:pt>
                <c:pt idx="71">
                  <c:v>44893</c:v>
                </c:pt>
                <c:pt idx="72">
                  <c:v>50613</c:v>
                </c:pt>
                <c:pt idx="73">
                  <c:v>56110</c:v>
                </c:pt>
                <c:pt idx="74">
                  <c:v>60451</c:v>
                </c:pt>
                <c:pt idx="75">
                  <c:v>63084</c:v>
                </c:pt>
                <c:pt idx="76">
                  <c:v>64753</c:v>
                </c:pt>
                <c:pt idx="77">
                  <c:v>67481</c:v>
                </c:pt>
                <c:pt idx="78">
                  <c:v>72763</c:v>
                </c:pt>
                <c:pt idx="79">
                  <c:v>76963</c:v>
                </c:pt>
                <c:pt idx="80">
                  <c:v>80995</c:v>
                </c:pt>
                <c:pt idx="81">
                  <c:v>85665</c:v>
                </c:pt>
                <c:pt idx="82">
                  <c:v>87909</c:v>
                </c:pt>
                <c:pt idx="83">
                  <c:v>88629</c:v>
                </c:pt>
                <c:pt idx="84">
                  <c:v>93438</c:v>
                </c:pt>
                <c:pt idx="85">
                  <c:v>97996</c:v>
                </c:pt>
                <c:pt idx="86">
                  <c:v>102456</c:v>
                </c:pt>
                <c:pt idx="87">
                  <c:v>107016</c:v>
                </c:pt>
                <c:pt idx="88">
                  <c:v>112468</c:v>
                </c:pt>
                <c:pt idx="89">
                  <c:v>113959</c:v>
                </c:pt>
                <c:pt idx="90">
                  <c:v>115550</c:v>
                </c:pt>
                <c:pt idx="91">
                  <c:v>121524</c:v>
                </c:pt>
                <c:pt idx="92">
                  <c:v>129260</c:v>
                </c:pt>
                <c:pt idx="93">
                  <c:v>135607</c:v>
                </c:pt>
                <c:pt idx="94">
                  <c:v>142658</c:v>
                </c:pt>
                <c:pt idx="95">
                  <c:v>145057</c:v>
                </c:pt>
                <c:pt idx="96">
                  <c:v>147007</c:v>
                </c:pt>
                <c:pt idx="97">
                  <c:v>148768</c:v>
                </c:pt>
                <c:pt idx="98">
                  <c:v>149660</c:v>
                </c:pt>
                <c:pt idx="99">
                  <c:v>155304</c:v>
                </c:pt>
                <c:pt idx="100">
                  <c:v>161419</c:v>
                </c:pt>
                <c:pt idx="101">
                  <c:v>167354</c:v>
                </c:pt>
                <c:pt idx="102">
                  <c:v>175062</c:v>
                </c:pt>
                <c:pt idx="103">
                  <c:v>179118</c:v>
                </c:pt>
                <c:pt idx="104">
                  <c:v>181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BA-4B78-8658-BD29E9C67F23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Chronicky nemocní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C$1:$DC$1</c:f>
              <c:strCache>
                <c:ptCount val="105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</c:strCache>
            </c:strRef>
          </c:cat>
          <c:val>
            <c:numRef>
              <c:f>List1!$C$8:$DC$8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1</c:v>
                </c:pt>
                <c:pt idx="40">
                  <c:v>11</c:v>
                </c:pt>
                <c:pt idx="41">
                  <c:v>11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5</c:v>
                </c:pt>
                <c:pt idx="47">
                  <c:v>15</c:v>
                </c:pt>
                <c:pt idx="48">
                  <c:v>17</c:v>
                </c:pt>
                <c:pt idx="49">
                  <c:v>19</c:v>
                </c:pt>
                <c:pt idx="50">
                  <c:v>22</c:v>
                </c:pt>
                <c:pt idx="51">
                  <c:v>23</c:v>
                </c:pt>
                <c:pt idx="52">
                  <c:v>30</c:v>
                </c:pt>
                <c:pt idx="53">
                  <c:v>40</c:v>
                </c:pt>
                <c:pt idx="54">
                  <c:v>42</c:v>
                </c:pt>
                <c:pt idx="55">
                  <c:v>42</c:v>
                </c:pt>
                <c:pt idx="56">
                  <c:v>46</c:v>
                </c:pt>
                <c:pt idx="57">
                  <c:v>49</c:v>
                </c:pt>
                <c:pt idx="58">
                  <c:v>56</c:v>
                </c:pt>
                <c:pt idx="59">
                  <c:v>69</c:v>
                </c:pt>
                <c:pt idx="60">
                  <c:v>90</c:v>
                </c:pt>
                <c:pt idx="61">
                  <c:v>96</c:v>
                </c:pt>
                <c:pt idx="62">
                  <c:v>96</c:v>
                </c:pt>
                <c:pt idx="63">
                  <c:v>125</c:v>
                </c:pt>
                <c:pt idx="64">
                  <c:v>164</c:v>
                </c:pt>
                <c:pt idx="65">
                  <c:v>352</c:v>
                </c:pt>
                <c:pt idx="66">
                  <c:v>703</c:v>
                </c:pt>
                <c:pt idx="67">
                  <c:v>1059</c:v>
                </c:pt>
                <c:pt idx="68">
                  <c:v>1502</c:v>
                </c:pt>
                <c:pt idx="69">
                  <c:v>2079</c:v>
                </c:pt>
                <c:pt idx="70">
                  <c:v>2487</c:v>
                </c:pt>
                <c:pt idx="71">
                  <c:v>3144</c:v>
                </c:pt>
                <c:pt idx="72">
                  <c:v>3949</c:v>
                </c:pt>
                <c:pt idx="73">
                  <c:v>5011</c:v>
                </c:pt>
                <c:pt idx="74">
                  <c:v>6278</c:v>
                </c:pt>
                <c:pt idx="75">
                  <c:v>6656</c:v>
                </c:pt>
                <c:pt idx="76">
                  <c:v>6786</c:v>
                </c:pt>
                <c:pt idx="77">
                  <c:v>7845</c:v>
                </c:pt>
                <c:pt idx="78">
                  <c:v>9271</c:v>
                </c:pt>
                <c:pt idx="79">
                  <c:v>10762</c:v>
                </c:pt>
                <c:pt idx="80">
                  <c:v>12447</c:v>
                </c:pt>
                <c:pt idx="81">
                  <c:v>14345</c:v>
                </c:pt>
                <c:pt idx="82">
                  <c:v>14823</c:v>
                </c:pt>
                <c:pt idx="83">
                  <c:v>14915</c:v>
                </c:pt>
                <c:pt idx="84">
                  <c:v>16478</c:v>
                </c:pt>
                <c:pt idx="85">
                  <c:v>18275</c:v>
                </c:pt>
                <c:pt idx="86">
                  <c:v>20397</c:v>
                </c:pt>
                <c:pt idx="87">
                  <c:v>22581</c:v>
                </c:pt>
                <c:pt idx="88">
                  <c:v>24903</c:v>
                </c:pt>
                <c:pt idx="89">
                  <c:v>25290</c:v>
                </c:pt>
                <c:pt idx="90">
                  <c:v>25452</c:v>
                </c:pt>
                <c:pt idx="91">
                  <c:v>27779</c:v>
                </c:pt>
                <c:pt idx="92">
                  <c:v>30528</c:v>
                </c:pt>
                <c:pt idx="93">
                  <c:v>33420</c:v>
                </c:pt>
                <c:pt idx="94">
                  <c:v>36744</c:v>
                </c:pt>
                <c:pt idx="95">
                  <c:v>37601</c:v>
                </c:pt>
                <c:pt idx="96">
                  <c:v>38003</c:v>
                </c:pt>
                <c:pt idx="97">
                  <c:v>38191</c:v>
                </c:pt>
                <c:pt idx="98">
                  <c:v>38404</c:v>
                </c:pt>
                <c:pt idx="99">
                  <c:v>40375</c:v>
                </c:pt>
                <c:pt idx="100">
                  <c:v>43337</c:v>
                </c:pt>
                <c:pt idx="101">
                  <c:v>47869</c:v>
                </c:pt>
                <c:pt idx="102">
                  <c:v>52901</c:v>
                </c:pt>
                <c:pt idx="103">
                  <c:v>54743</c:v>
                </c:pt>
                <c:pt idx="104">
                  <c:v>55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31-4689-8D01-AE220FE5D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2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640143913712241"/>
          <c:y val="5.9060112031772409E-2"/>
          <c:w val="0.25672167579882066"/>
          <c:h val="0.751058149456467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2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2:$P$2</c:f>
              <c:numCache>
                <c:formatCode>General</c:formatCode>
                <c:ptCount val="15"/>
                <c:pt idx="0">
                  <c:v>127.99420227175098</c:v>
                </c:pt>
                <c:pt idx="1">
                  <c:v>169.19781533183519</c:v>
                </c:pt>
                <c:pt idx="2">
                  <c:v>175.04229945383295</c:v>
                </c:pt>
                <c:pt idx="3">
                  <c:v>135.59203163034806</c:v>
                </c:pt>
                <c:pt idx="4">
                  <c:v>131.20866853884974</c:v>
                </c:pt>
                <c:pt idx="5">
                  <c:v>144.35875781334471</c:v>
                </c:pt>
                <c:pt idx="6">
                  <c:v>154.87882923294069</c:v>
                </c:pt>
                <c:pt idx="7">
                  <c:v>172.70450580503385</c:v>
                </c:pt>
                <c:pt idx="8">
                  <c:v>229.68822599451204</c:v>
                </c:pt>
                <c:pt idx="9">
                  <c:v>294.2697755425873</c:v>
                </c:pt>
                <c:pt idx="10">
                  <c:v>315.30991838177926</c:v>
                </c:pt>
                <c:pt idx="11">
                  <c:v>268.84626961189701</c:v>
                </c:pt>
                <c:pt idx="12">
                  <c:v>213.32367045291829</c:v>
                </c:pt>
                <c:pt idx="13">
                  <c:v>187.60794031612815</c:v>
                </c:pt>
                <c:pt idx="14">
                  <c:v>124.48751179855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–5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3:$P$3</c:f>
              <c:numCache>
                <c:formatCode>General</c:formatCode>
                <c:ptCount val="15"/>
                <c:pt idx="0">
                  <c:v>238.84569795525505</c:v>
                </c:pt>
                <c:pt idx="1">
                  <c:v>279.84160133563466</c:v>
                </c:pt>
                <c:pt idx="2">
                  <c:v>382.6284315502096</c:v>
                </c:pt>
                <c:pt idx="3">
                  <c:v>397.18494796788059</c:v>
                </c:pt>
                <c:pt idx="4">
                  <c:v>392.13472798623962</c:v>
                </c:pt>
                <c:pt idx="5">
                  <c:v>422.13897611245949</c:v>
                </c:pt>
                <c:pt idx="6">
                  <c:v>460.46123362020563</c:v>
                </c:pt>
                <c:pt idx="7">
                  <c:v>506.50735698222621</c:v>
                </c:pt>
                <c:pt idx="8">
                  <c:v>728.41996441080266</c:v>
                </c:pt>
                <c:pt idx="9">
                  <c:v>731.09361028343619</c:v>
                </c:pt>
                <c:pt idx="10">
                  <c:v>610.18540248767897</c:v>
                </c:pt>
                <c:pt idx="11">
                  <c:v>467.59095594722817</c:v>
                </c:pt>
                <c:pt idx="12">
                  <c:v>366.58655631440888</c:v>
                </c:pt>
                <c:pt idx="13">
                  <c:v>310.14292122548045</c:v>
                </c:pt>
                <c:pt idx="14">
                  <c:v>194.87907693861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6–10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4:$P$4</c:f>
              <c:numCache>
                <c:formatCode>General</c:formatCode>
                <c:ptCount val="15"/>
                <c:pt idx="0">
                  <c:v>332.19266138954896</c:v>
                </c:pt>
                <c:pt idx="1">
                  <c:v>386.37889290971435</c:v>
                </c:pt>
                <c:pt idx="2">
                  <c:v>467.31310495734994</c:v>
                </c:pt>
                <c:pt idx="3">
                  <c:v>419.16674000790357</c:v>
                </c:pt>
                <c:pt idx="4">
                  <c:v>386.03375767710185</c:v>
                </c:pt>
                <c:pt idx="5">
                  <c:v>418.13133431006605</c:v>
                </c:pt>
                <c:pt idx="6">
                  <c:v>459.54756222356826</c:v>
                </c:pt>
                <c:pt idx="7">
                  <c:v>555.49515688984832</c:v>
                </c:pt>
                <c:pt idx="8">
                  <c:v>708.73520016980649</c:v>
                </c:pt>
                <c:pt idx="9">
                  <c:v>786.2180598913169</c:v>
                </c:pt>
                <c:pt idx="10">
                  <c:v>614.68584928289522</c:v>
                </c:pt>
                <c:pt idx="11">
                  <c:v>481.46364949446314</c:v>
                </c:pt>
                <c:pt idx="12">
                  <c:v>371.19294267476351</c:v>
                </c:pt>
                <c:pt idx="13">
                  <c:v>308.72346557189769</c:v>
                </c:pt>
                <c:pt idx="14">
                  <c:v>186.890728459678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11–1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5:$P$5</c:f>
              <c:numCache>
                <c:formatCode>General</c:formatCode>
                <c:ptCount val="15"/>
                <c:pt idx="0">
                  <c:v>447.50857555515438</c:v>
                </c:pt>
                <c:pt idx="1">
                  <c:v>536.87488716374799</c:v>
                </c:pt>
                <c:pt idx="2">
                  <c:v>553.34897996028167</c:v>
                </c:pt>
                <c:pt idx="3">
                  <c:v>380.25816934464706</c:v>
                </c:pt>
                <c:pt idx="4">
                  <c:v>361.52735150749231</c:v>
                </c:pt>
                <c:pt idx="5">
                  <c:v>377.3244267918397</c:v>
                </c:pt>
                <c:pt idx="6">
                  <c:v>418.62249503520491</c:v>
                </c:pt>
                <c:pt idx="7">
                  <c:v>485.87290124571223</c:v>
                </c:pt>
                <c:pt idx="8">
                  <c:v>626.91821628452794</c:v>
                </c:pt>
                <c:pt idx="9">
                  <c:v>758.03394114461094</c:v>
                </c:pt>
                <c:pt idx="10">
                  <c:v>733.66131070590359</c:v>
                </c:pt>
                <c:pt idx="11">
                  <c:v>659.18938436540896</c:v>
                </c:pt>
                <c:pt idx="12">
                  <c:v>515.66167178191006</c:v>
                </c:pt>
                <c:pt idx="13">
                  <c:v>398.98898718180175</c:v>
                </c:pt>
                <c:pt idx="14">
                  <c:v>273.74074742733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15–19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6:$P$6</c:f>
              <c:numCache>
                <c:formatCode>General</c:formatCode>
                <c:ptCount val="15"/>
                <c:pt idx="0">
                  <c:v>528.60229343140759</c:v>
                </c:pt>
                <c:pt idx="1">
                  <c:v>644.14146565460555</c:v>
                </c:pt>
                <c:pt idx="2">
                  <c:v>635.25383702205193</c:v>
                </c:pt>
                <c:pt idx="3">
                  <c:v>412.21668038606168</c:v>
                </c:pt>
                <c:pt idx="4">
                  <c:v>385.13057407732663</c:v>
                </c:pt>
                <c:pt idx="5">
                  <c:v>384.28413325517863</c:v>
                </c:pt>
                <c:pt idx="6">
                  <c:v>422.58558045737431</c:v>
                </c:pt>
                <c:pt idx="7">
                  <c:v>492.41694828458185</c:v>
                </c:pt>
                <c:pt idx="8">
                  <c:v>645.19951668229055</c:v>
                </c:pt>
                <c:pt idx="9">
                  <c:v>760.73868890548852</c:v>
                </c:pt>
                <c:pt idx="10">
                  <c:v>781.47648904811376</c:v>
                </c:pt>
                <c:pt idx="11">
                  <c:v>698.10206806653866</c:v>
                </c:pt>
                <c:pt idx="12">
                  <c:v>557.16967117890158</c:v>
                </c:pt>
                <c:pt idx="13">
                  <c:v>432.31964991207593</c:v>
                </c:pt>
                <c:pt idx="14">
                  <c:v>275.72809781470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7:$P$7</c:f>
              <c:numCache>
                <c:formatCode>General</c:formatCode>
                <c:ptCount val="15"/>
                <c:pt idx="0">
                  <c:v>545.06733510014317</c:v>
                </c:pt>
                <c:pt idx="1">
                  <c:v>712.50999594725965</c:v>
                </c:pt>
                <c:pt idx="2">
                  <c:v>673.02295815554953</c:v>
                </c:pt>
                <c:pt idx="3">
                  <c:v>475.47529721658094</c:v>
                </c:pt>
                <c:pt idx="4">
                  <c:v>443.13023018140603</c:v>
                </c:pt>
                <c:pt idx="5">
                  <c:v>456.43004186582016</c:v>
                </c:pt>
                <c:pt idx="6">
                  <c:v>483.42331716611102</c:v>
                </c:pt>
                <c:pt idx="7">
                  <c:v>546.3888808700533</c:v>
                </c:pt>
                <c:pt idx="8">
                  <c:v>701.42213321106374</c:v>
                </c:pt>
                <c:pt idx="9">
                  <c:v>806.59280756681494</c:v>
                </c:pt>
                <c:pt idx="10">
                  <c:v>762.97242449474777</c:v>
                </c:pt>
                <c:pt idx="11">
                  <c:v>685.02934206515806</c:v>
                </c:pt>
                <c:pt idx="12">
                  <c:v>526.71565696195933</c:v>
                </c:pt>
                <c:pt idx="13">
                  <c:v>413.39076402591206</c:v>
                </c:pt>
                <c:pt idx="14">
                  <c:v>263.50310478901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175538477131103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4.2679751582317191E-4"/>
                  <c:y val="-4.662556641343844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11220385068377"/>
                      <c:h val="4.18791204655948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5.12.20</c:v>
                </c:pt>
                <c:pt idx="1">
                  <c:v>06.12.20</c:v>
                </c:pt>
                <c:pt idx="2">
                  <c:v>07.12.20</c:v>
                </c:pt>
                <c:pt idx="3">
                  <c:v>08.12.20</c:v>
                </c:pt>
                <c:pt idx="4">
                  <c:v>09.12.20</c:v>
                </c:pt>
                <c:pt idx="5">
                  <c:v>10.12.20</c:v>
                </c:pt>
                <c:pt idx="6">
                  <c:v>11.12.20</c:v>
                </c:pt>
                <c:pt idx="7">
                  <c:v>12.12.20</c:v>
                </c:pt>
                <c:pt idx="8">
                  <c:v>13.12.20</c:v>
                </c:pt>
                <c:pt idx="9">
                  <c:v>14.12.20</c:v>
                </c:pt>
                <c:pt idx="10">
                  <c:v>15.12.20</c:v>
                </c:pt>
                <c:pt idx="11">
                  <c:v>16.12.20</c:v>
                </c:pt>
                <c:pt idx="12">
                  <c:v>17.12.20</c:v>
                </c:pt>
                <c:pt idx="13">
                  <c:v>18.12.20</c:v>
                </c:pt>
                <c:pt idx="14">
                  <c:v>19.12.20</c:v>
                </c:pt>
                <c:pt idx="15">
                  <c:v>20.12.20</c:v>
                </c:pt>
                <c:pt idx="16">
                  <c:v>21.12.20</c:v>
                </c:pt>
                <c:pt idx="17">
                  <c:v>22.12.20</c:v>
                </c:pt>
                <c:pt idx="18">
                  <c:v>23.12.20</c:v>
                </c:pt>
                <c:pt idx="19">
                  <c:v>24.12.20</c:v>
                </c:pt>
                <c:pt idx="20">
                  <c:v>25.12.20</c:v>
                </c:pt>
                <c:pt idx="21">
                  <c:v>26.12.20</c:v>
                </c:pt>
                <c:pt idx="22">
                  <c:v>27.12.20</c:v>
                </c:pt>
                <c:pt idx="23">
                  <c:v>28.12.20</c:v>
                </c:pt>
                <c:pt idx="24">
                  <c:v>29.12.20</c:v>
                </c:pt>
                <c:pt idx="25">
                  <c:v>30.12.20</c:v>
                </c:pt>
                <c:pt idx="26">
                  <c:v>31.12.20</c:v>
                </c:pt>
                <c:pt idx="27">
                  <c:v>01.01.21</c:v>
                </c:pt>
                <c:pt idx="28">
                  <c:v>02.01.21</c:v>
                </c:pt>
                <c:pt idx="29">
                  <c:v>03.01.21</c:v>
                </c:pt>
                <c:pt idx="30">
                  <c:v>04.01.21</c:v>
                </c:pt>
                <c:pt idx="31">
                  <c:v>05.01.21</c:v>
                </c:pt>
                <c:pt idx="32">
                  <c:v>06.01.21</c:v>
                </c:pt>
                <c:pt idx="33">
                  <c:v>07.01.21</c:v>
                </c:pt>
                <c:pt idx="34">
                  <c:v>08.01.21</c:v>
                </c:pt>
                <c:pt idx="35">
                  <c:v>09.01.21</c:v>
                </c:pt>
                <c:pt idx="36">
                  <c:v>10.01.21</c:v>
                </c:pt>
                <c:pt idx="37">
                  <c:v>11.01.21</c:v>
                </c:pt>
                <c:pt idx="38">
                  <c:v>12.01.21</c:v>
                </c:pt>
                <c:pt idx="39">
                  <c:v>13.01.21</c:v>
                </c:pt>
                <c:pt idx="40">
                  <c:v>14.01.21</c:v>
                </c:pt>
                <c:pt idx="41">
                  <c:v>15.01.21</c:v>
                </c:pt>
                <c:pt idx="42">
                  <c:v>16.01.21</c:v>
                </c:pt>
                <c:pt idx="43">
                  <c:v>17.01.21</c:v>
                </c:pt>
                <c:pt idx="44">
                  <c:v>18.01.21</c:v>
                </c:pt>
                <c:pt idx="45">
                  <c:v>19.01.21</c:v>
                </c:pt>
                <c:pt idx="46">
                  <c:v>20.01.21</c:v>
                </c:pt>
                <c:pt idx="47">
                  <c:v>21.01.21</c:v>
                </c:pt>
                <c:pt idx="48">
                  <c:v>22.01.21</c:v>
                </c:pt>
                <c:pt idx="49">
                  <c:v>23.01.21</c:v>
                </c:pt>
                <c:pt idx="50">
                  <c:v>24.01.21</c:v>
                </c:pt>
                <c:pt idx="51">
                  <c:v>25.01.21</c:v>
                </c:pt>
                <c:pt idx="52">
                  <c:v>26.01.21</c:v>
                </c:pt>
                <c:pt idx="53">
                  <c:v>27.01.21</c:v>
                </c:pt>
                <c:pt idx="54">
                  <c:v>28.01.21</c:v>
                </c:pt>
                <c:pt idx="55">
                  <c:v>29.01.21</c:v>
                </c:pt>
                <c:pt idx="56">
                  <c:v>30.01.21</c:v>
                </c:pt>
                <c:pt idx="57">
                  <c:v>31.01.21</c:v>
                </c:pt>
                <c:pt idx="58">
                  <c:v>01.02.21</c:v>
                </c:pt>
                <c:pt idx="59">
                  <c:v>02.02.21</c:v>
                </c:pt>
                <c:pt idx="60">
                  <c:v>03.02.21</c:v>
                </c:pt>
                <c:pt idx="61">
                  <c:v>04.02.21</c:v>
                </c:pt>
                <c:pt idx="62">
                  <c:v>05.02.21</c:v>
                </c:pt>
                <c:pt idx="63">
                  <c:v>06.02.21</c:v>
                </c:pt>
                <c:pt idx="64">
                  <c:v>07.02.21</c:v>
                </c:pt>
                <c:pt idx="65">
                  <c:v>08.02.21</c:v>
                </c:pt>
                <c:pt idx="66">
                  <c:v>09.02.21</c:v>
                </c:pt>
                <c:pt idx="67">
                  <c:v>10.02.21</c:v>
                </c:pt>
                <c:pt idx="68">
                  <c:v>11.02.21</c:v>
                </c:pt>
                <c:pt idx="69">
                  <c:v>12.02.21</c:v>
                </c:pt>
                <c:pt idx="70">
                  <c:v>13.02.21</c:v>
                </c:pt>
                <c:pt idx="71">
                  <c:v>14.02.21</c:v>
                </c:pt>
                <c:pt idx="72">
                  <c:v>15.02.21</c:v>
                </c:pt>
                <c:pt idx="73">
                  <c:v>16.02.21</c:v>
                </c:pt>
                <c:pt idx="74">
                  <c:v>17.02.21</c:v>
                </c:pt>
                <c:pt idx="75">
                  <c:v>18.02.21</c:v>
                </c:pt>
                <c:pt idx="76">
                  <c:v>19.02.21</c:v>
                </c:pt>
                <c:pt idx="77">
                  <c:v>20.02.21</c:v>
                </c:pt>
                <c:pt idx="78">
                  <c:v>21.02.21</c:v>
                </c:pt>
                <c:pt idx="79">
                  <c:v>22.02.21</c:v>
                </c:pt>
                <c:pt idx="80">
                  <c:v>23.02.21</c:v>
                </c:pt>
                <c:pt idx="81">
                  <c:v>24.02.21</c:v>
                </c:pt>
                <c:pt idx="82">
                  <c:v>25.02.21</c:v>
                </c:pt>
                <c:pt idx="83">
                  <c:v>26.02.21</c:v>
                </c:pt>
                <c:pt idx="84">
                  <c:v>27.02.21</c:v>
                </c:pt>
                <c:pt idx="85">
                  <c:v>28.02.21</c:v>
                </c:pt>
                <c:pt idx="86">
                  <c:v>01.03.21</c:v>
                </c:pt>
                <c:pt idx="87">
                  <c:v>02.03.21</c:v>
                </c:pt>
                <c:pt idx="88">
                  <c:v>03.03.21</c:v>
                </c:pt>
                <c:pt idx="89">
                  <c:v>04.03.21</c:v>
                </c:pt>
                <c:pt idx="90">
                  <c:v>05.03.21</c:v>
                </c:pt>
                <c:pt idx="91">
                  <c:v>06.03.21</c:v>
                </c:pt>
                <c:pt idx="92">
                  <c:v>07.03.21</c:v>
                </c:pt>
                <c:pt idx="93">
                  <c:v>08.03.21</c:v>
                </c:pt>
                <c:pt idx="94">
                  <c:v>09.03.21</c:v>
                </c:pt>
                <c:pt idx="95">
                  <c:v>10.03.21</c:v>
                </c:pt>
                <c:pt idx="96">
                  <c:v>11.03.21</c:v>
                </c:pt>
                <c:pt idx="97">
                  <c:v>12.03.21</c:v>
                </c:pt>
                <c:pt idx="98">
                  <c:v>13.03.21</c:v>
                </c:pt>
                <c:pt idx="99">
                  <c:v>14.03.21</c:v>
                </c:pt>
                <c:pt idx="100">
                  <c:v>15.03.21</c:v>
                </c:pt>
                <c:pt idx="101">
                  <c:v>16.03.21</c:v>
                </c:pt>
                <c:pt idx="102">
                  <c:v>17.03.21</c:v>
                </c:pt>
                <c:pt idx="103">
                  <c:v>18.03.21</c:v>
                </c:pt>
                <c:pt idx="104">
                  <c:v>19.03.21</c:v>
                </c:pt>
                <c:pt idx="105">
                  <c:v>20.03.21</c:v>
                </c:pt>
                <c:pt idx="106">
                  <c:v>21.03.21</c:v>
                </c:pt>
                <c:pt idx="107">
                  <c:v>22.03.21</c:v>
                </c:pt>
                <c:pt idx="108">
                  <c:v>23.03.21</c:v>
                </c:pt>
                <c:pt idx="109">
                  <c:v>24.03.21</c:v>
                </c:pt>
                <c:pt idx="110">
                  <c:v>25.03.21</c:v>
                </c:pt>
                <c:pt idx="111">
                  <c:v>26.03.21</c:v>
                </c:pt>
                <c:pt idx="112">
                  <c:v>27.03.21</c:v>
                </c:pt>
                <c:pt idx="113">
                  <c:v>28.03.21</c:v>
                </c:pt>
                <c:pt idx="114">
                  <c:v>29.03.21</c:v>
                </c:pt>
                <c:pt idx="115">
                  <c:v>30.03.21</c:v>
                </c:pt>
                <c:pt idx="116">
                  <c:v>31.03.21</c:v>
                </c:pt>
                <c:pt idx="117">
                  <c:v>01.04.21</c:v>
                </c:pt>
                <c:pt idx="118">
                  <c:v>02.04.21</c:v>
                </c:pt>
                <c:pt idx="119">
                  <c:v>03.04.21</c:v>
                </c:pt>
                <c:pt idx="120">
                  <c:v>04.04.21</c:v>
                </c:pt>
                <c:pt idx="121">
                  <c:v>05.04.21</c:v>
                </c:pt>
                <c:pt idx="122">
                  <c:v>06.04.21</c:v>
                </c:pt>
                <c:pt idx="123">
                  <c:v>07.04.21</c:v>
                </c:pt>
                <c:pt idx="124">
                  <c:v>08.04.21</c:v>
                </c:pt>
                <c:pt idx="125">
                  <c:v>09.04.21</c:v>
                </c:pt>
                <c:pt idx="126">
                  <c:v>10.04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31</c:v>
                </c:pt>
                <c:pt idx="1">
                  <c:v>30</c:v>
                </c:pt>
                <c:pt idx="2">
                  <c:v>81</c:v>
                </c:pt>
                <c:pt idx="3">
                  <c:v>81</c:v>
                </c:pt>
                <c:pt idx="4">
                  <c:v>74</c:v>
                </c:pt>
                <c:pt idx="5">
                  <c:v>76</c:v>
                </c:pt>
                <c:pt idx="6">
                  <c:v>73</c:v>
                </c:pt>
                <c:pt idx="7">
                  <c:v>43</c:v>
                </c:pt>
                <c:pt idx="8">
                  <c:v>25</c:v>
                </c:pt>
                <c:pt idx="9">
                  <c:v>84</c:v>
                </c:pt>
                <c:pt idx="10">
                  <c:v>111</c:v>
                </c:pt>
                <c:pt idx="11">
                  <c:v>73</c:v>
                </c:pt>
                <c:pt idx="12">
                  <c:v>94</c:v>
                </c:pt>
                <c:pt idx="13">
                  <c:v>105</c:v>
                </c:pt>
                <c:pt idx="14">
                  <c:v>45</c:v>
                </c:pt>
                <c:pt idx="15">
                  <c:v>53</c:v>
                </c:pt>
                <c:pt idx="16">
                  <c:v>141</c:v>
                </c:pt>
                <c:pt idx="17">
                  <c:v>126</c:v>
                </c:pt>
                <c:pt idx="18">
                  <c:v>185</c:v>
                </c:pt>
                <c:pt idx="19">
                  <c:v>58</c:v>
                </c:pt>
                <c:pt idx="20">
                  <c:v>44</c:v>
                </c:pt>
                <c:pt idx="21">
                  <c:v>47</c:v>
                </c:pt>
                <c:pt idx="22">
                  <c:v>72</c:v>
                </c:pt>
                <c:pt idx="23">
                  <c:v>162</c:v>
                </c:pt>
                <c:pt idx="24">
                  <c:v>121</c:v>
                </c:pt>
                <c:pt idx="25">
                  <c:v>110</c:v>
                </c:pt>
                <c:pt idx="26">
                  <c:v>111</c:v>
                </c:pt>
                <c:pt idx="27">
                  <c:v>44</c:v>
                </c:pt>
                <c:pt idx="28">
                  <c:v>49</c:v>
                </c:pt>
                <c:pt idx="29">
                  <c:v>74</c:v>
                </c:pt>
                <c:pt idx="30">
                  <c:v>164</c:v>
                </c:pt>
                <c:pt idx="31">
                  <c:v>128</c:v>
                </c:pt>
                <c:pt idx="32">
                  <c:v>97</c:v>
                </c:pt>
                <c:pt idx="33">
                  <c:v>83</c:v>
                </c:pt>
                <c:pt idx="34">
                  <c:v>82</c:v>
                </c:pt>
                <c:pt idx="35">
                  <c:v>49</c:v>
                </c:pt>
                <c:pt idx="36">
                  <c:v>34</c:v>
                </c:pt>
                <c:pt idx="37">
                  <c:v>79</c:v>
                </c:pt>
                <c:pt idx="38">
                  <c:v>73</c:v>
                </c:pt>
                <c:pt idx="39">
                  <c:v>75</c:v>
                </c:pt>
                <c:pt idx="40">
                  <c:v>55</c:v>
                </c:pt>
                <c:pt idx="41">
                  <c:v>70</c:v>
                </c:pt>
                <c:pt idx="42">
                  <c:v>43</c:v>
                </c:pt>
                <c:pt idx="43">
                  <c:v>21</c:v>
                </c:pt>
                <c:pt idx="44">
                  <c:v>79</c:v>
                </c:pt>
                <c:pt idx="45">
                  <c:v>54</c:v>
                </c:pt>
                <c:pt idx="46">
                  <c:v>53</c:v>
                </c:pt>
                <c:pt idx="47">
                  <c:v>49</c:v>
                </c:pt>
                <c:pt idx="48">
                  <c:v>67</c:v>
                </c:pt>
                <c:pt idx="49">
                  <c:v>29</c:v>
                </c:pt>
                <c:pt idx="50">
                  <c:v>9</c:v>
                </c:pt>
                <c:pt idx="51">
                  <c:v>41</c:v>
                </c:pt>
                <c:pt idx="52">
                  <c:v>46</c:v>
                </c:pt>
                <c:pt idx="53">
                  <c:v>42</c:v>
                </c:pt>
                <c:pt idx="54">
                  <c:v>42</c:v>
                </c:pt>
                <c:pt idx="55">
                  <c:v>35</c:v>
                </c:pt>
                <c:pt idx="56">
                  <c:v>19</c:v>
                </c:pt>
                <c:pt idx="57">
                  <c:v>23</c:v>
                </c:pt>
                <c:pt idx="58">
                  <c:v>40</c:v>
                </c:pt>
                <c:pt idx="59">
                  <c:v>33</c:v>
                </c:pt>
                <c:pt idx="60">
                  <c:v>27</c:v>
                </c:pt>
                <c:pt idx="61">
                  <c:v>40</c:v>
                </c:pt>
                <c:pt idx="62">
                  <c:v>26</c:v>
                </c:pt>
                <c:pt idx="63">
                  <c:v>16</c:v>
                </c:pt>
                <c:pt idx="64">
                  <c:v>14</c:v>
                </c:pt>
                <c:pt idx="65">
                  <c:v>19</c:v>
                </c:pt>
                <c:pt idx="66">
                  <c:v>24</c:v>
                </c:pt>
                <c:pt idx="67">
                  <c:v>30</c:v>
                </c:pt>
                <c:pt idx="68">
                  <c:v>25</c:v>
                </c:pt>
                <c:pt idx="69">
                  <c:v>29</c:v>
                </c:pt>
                <c:pt idx="70">
                  <c:v>12</c:v>
                </c:pt>
                <c:pt idx="71">
                  <c:v>7</c:v>
                </c:pt>
                <c:pt idx="72">
                  <c:v>23</c:v>
                </c:pt>
                <c:pt idx="73">
                  <c:v>33</c:v>
                </c:pt>
                <c:pt idx="74">
                  <c:v>13</c:v>
                </c:pt>
                <c:pt idx="75">
                  <c:v>26</c:v>
                </c:pt>
                <c:pt idx="76">
                  <c:v>24</c:v>
                </c:pt>
                <c:pt idx="77">
                  <c:v>15</c:v>
                </c:pt>
                <c:pt idx="78">
                  <c:v>8</c:v>
                </c:pt>
                <c:pt idx="79">
                  <c:v>32</c:v>
                </c:pt>
                <c:pt idx="80">
                  <c:v>29</c:v>
                </c:pt>
                <c:pt idx="81">
                  <c:v>25</c:v>
                </c:pt>
                <c:pt idx="82">
                  <c:v>37</c:v>
                </c:pt>
                <c:pt idx="83">
                  <c:v>34</c:v>
                </c:pt>
                <c:pt idx="84">
                  <c:v>23</c:v>
                </c:pt>
                <c:pt idx="85">
                  <c:v>19</c:v>
                </c:pt>
                <c:pt idx="86">
                  <c:v>29</c:v>
                </c:pt>
                <c:pt idx="87">
                  <c:v>41</c:v>
                </c:pt>
                <c:pt idx="88">
                  <c:v>37</c:v>
                </c:pt>
                <c:pt idx="89">
                  <c:v>20</c:v>
                </c:pt>
                <c:pt idx="90">
                  <c:v>25</c:v>
                </c:pt>
                <c:pt idx="91">
                  <c:v>10</c:v>
                </c:pt>
                <c:pt idx="92">
                  <c:v>10</c:v>
                </c:pt>
                <c:pt idx="93">
                  <c:v>23</c:v>
                </c:pt>
                <c:pt idx="94">
                  <c:v>21</c:v>
                </c:pt>
                <c:pt idx="95">
                  <c:v>21</c:v>
                </c:pt>
                <c:pt idx="96">
                  <c:v>7</c:v>
                </c:pt>
                <c:pt idx="97">
                  <c:v>17</c:v>
                </c:pt>
                <c:pt idx="98">
                  <c:v>11</c:v>
                </c:pt>
                <c:pt idx="99">
                  <c:v>7</c:v>
                </c:pt>
                <c:pt idx="100">
                  <c:v>23</c:v>
                </c:pt>
                <c:pt idx="101">
                  <c:v>29</c:v>
                </c:pt>
                <c:pt idx="102">
                  <c:v>12</c:v>
                </c:pt>
                <c:pt idx="103">
                  <c:v>16</c:v>
                </c:pt>
                <c:pt idx="104">
                  <c:v>11</c:v>
                </c:pt>
                <c:pt idx="105">
                  <c:v>7</c:v>
                </c:pt>
                <c:pt idx="106">
                  <c:v>6</c:v>
                </c:pt>
                <c:pt idx="107">
                  <c:v>9</c:v>
                </c:pt>
                <c:pt idx="108">
                  <c:v>18</c:v>
                </c:pt>
                <c:pt idx="109">
                  <c:v>9</c:v>
                </c:pt>
                <c:pt idx="110">
                  <c:v>10</c:v>
                </c:pt>
                <c:pt idx="111">
                  <c:v>11</c:v>
                </c:pt>
                <c:pt idx="112">
                  <c:v>9</c:v>
                </c:pt>
                <c:pt idx="113">
                  <c:v>0</c:v>
                </c:pt>
                <c:pt idx="114">
                  <c:v>13</c:v>
                </c:pt>
                <c:pt idx="115">
                  <c:v>9</c:v>
                </c:pt>
                <c:pt idx="116">
                  <c:v>7</c:v>
                </c:pt>
                <c:pt idx="117">
                  <c:v>6</c:v>
                </c:pt>
                <c:pt idx="118">
                  <c:v>4</c:v>
                </c:pt>
                <c:pt idx="119">
                  <c:v>5</c:v>
                </c:pt>
                <c:pt idx="120">
                  <c:v>4</c:v>
                </c:pt>
                <c:pt idx="121">
                  <c:v>5</c:v>
                </c:pt>
                <c:pt idx="122">
                  <c:v>10</c:v>
                </c:pt>
                <c:pt idx="123">
                  <c:v>3</c:v>
                </c:pt>
                <c:pt idx="124">
                  <c:v>5</c:v>
                </c:pt>
                <c:pt idx="125">
                  <c:v>3</c:v>
                </c:pt>
                <c:pt idx="126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0.10127605364142921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28009897564401"/>
                      <c:h val="7.66237950090451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5.12.20</c:v>
                </c:pt>
                <c:pt idx="1">
                  <c:v>06.12.20</c:v>
                </c:pt>
                <c:pt idx="2">
                  <c:v>07.12.20</c:v>
                </c:pt>
                <c:pt idx="3">
                  <c:v>08.12.20</c:v>
                </c:pt>
                <c:pt idx="4">
                  <c:v>09.12.20</c:v>
                </c:pt>
                <c:pt idx="5">
                  <c:v>10.12.20</c:v>
                </c:pt>
                <c:pt idx="6">
                  <c:v>11.12.20</c:v>
                </c:pt>
                <c:pt idx="7">
                  <c:v>12.12.20</c:v>
                </c:pt>
                <c:pt idx="8">
                  <c:v>13.12.20</c:v>
                </c:pt>
                <c:pt idx="9">
                  <c:v>14.12.20</c:v>
                </c:pt>
                <c:pt idx="10">
                  <c:v>15.12.20</c:v>
                </c:pt>
                <c:pt idx="11">
                  <c:v>16.12.20</c:v>
                </c:pt>
                <c:pt idx="12">
                  <c:v>17.12.20</c:v>
                </c:pt>
                <c:pt idx="13">
                  <c:v>18.12.20</c:v>
                </c:pt>
                <c:pt idx="14">
                  <c:v>19.12.20</c:v>
                </c:pt>
                <c:pt idx="15">
                  <c:v>20.12.20</c:v>
                </c:pt>
                <c:pt idx="16">
                  <c:v>21.12.20</c:v>
                </c:pt>
                <c:pt idx="17">
                  <c:v>22.12.20</c:v>
                </c:pt>
                <c:pt idx="18">
                  <c:v>23.12.20</c:v>
                </c:pt>
                <c:pt idx="19">
                  <c:v>24.12.20</c:v>
                </c:pt>
                <c:pt idx="20">
                  <c:v>25.12.20</c:v>
                </c:pt>
                <c:pt idx="21">
                  <c:v>26.12.20</c:v>
                </c:pt>
                <c:pt idx="22">
                  <c:v>27.12.20</c:v>
                </c:pt>
                <c:pt idx="23">
                  <c:v>28.12.20</c:v>
                </c:pt>
                <c:pt idx="24">
                  <c:v>29.12.20</c:v>
                </c:pt>
                <c:pt idx="25">
                  <c:v>30.12.20</c:v>
                </c:pt>
                <c:pt idx="26">
                  <c:v>31.12.20</c:v>
                </c:pt>
                <c:pt idx="27">
                  <c:v>01.01.21</c:v>
                </c:pt>
                <c:pt idx="28">
                  <c:v>02.01.21</c:v>
                </c:pt>
                <c:pt idx="29">
                  <c:v>03.01.21</c:v>
                </c:pt>
                <c:pt idx="30">
                  <c:v>04.01.21</c:v>
                </c:pt>
                <c:pt idx="31">
                  <c:v>05.01.21</c:v>
                </c:pt>
                <c:pt idx="32">
                  <c:v>06.01.21</c:v>
                </c:pt>
                <c:pt idx="33">
                  <c:v>07.01.21</c:v>
                </c:pt>
                <c:pt idx="34">
                  <c:v>08.01.21</c:v>
                </c:pt>
                <c:pt idx="35">
                  <c:v>09.01.21</c:v>
                </c:pt>
                <c:pt idx="36">
                  <c:v>10.01.21</c:v>
                </c:pt>
                <c:pt idx="37">
                  <c:v>11.01.21</c:v>
                </c:pt>
                <c:pt idx="38">
                  <c:v>12.01.21</c:v>
                </c:pt>
                <c:pt idx="39">
                  <c:v>13.01.21</c:v>
                </c:pt>
                <c:pt idx="40">
                  <c:v>14.01.21</c:v>
                </c:pt>
                <c:pt idx="41">
                  <c:v>15.01.21</c:v>
                </c:pt>
                <c:pt idx="42">
                  <c:v>16.01.21</c:v>
                </c:pt>
                <c:pt idx="43">
                  <c:v>17.01.21</c:v>
                </c:pt>
                <c:pt idx="44">
                  <c:v>18.01.21</c:v>
                </c:pt>
                <c:pt idx="45">
                  <c:v>19.01.21</c:v>
                </c:pt>
                <c:pt idx="46">
                  <c:v>20.01.21</c:v>
                </c:pt>
                <c:pt idx="47">
                  <c:v>21.01.21</c:v>
                </c:pt>
                <c:pt idx="48">
                  <c:v>22.01.21</c:v>
                </c:pt>
                <c:pt idx="49">
                  <c:v>23.01.21</c:v>
                </c:pt>
                <c:pt idx="50">
                  <c:v>24.01.21</c:v>
                </c:pt>
                <c:pt idx="51">
                  <c:v>25.01.21</c:v>
                </c:pt>
                <c:pt idx="52">
                  <c:v>26.01.21</c:v>
                </c:pt>
                <c:pt idx="53">
                  <c:v>27.01.21</c:v>
                </c:pt>
                <c:pt idx="54">
                  <c:v>28.01.21</c:v>
                </c:pt>
                <c:pt idx="55">
                  <c:v>29.01.21</c:v>
                </c:pt>
                <c:pt idx="56">
                  <c:v>30.01.21</c:v>
                </c:pt>
                <c:pt idx="57">
                  <c:v>31.01.21</c:v>
                </c:pt>
                <c:pt idx="58">
                  <c:v>01.02.21</c:v>
                </c:pt>
                <c:pt idx="59">
                  <c:v>02.02.21</c:v>
                </c:pt>
                <c:pt idx="60">
                  <c:v>03.02.21</c:v>
                </c:pt>
                <c:pt idx="61">
                  <c:v>04.02.21</c:v>
                </c:pt>
                <c:pt idx="62">
                  <c:v>05.02.21</c:v>
                </c:pt>
                <c:pt idx="63">
                  <c:v>06.02.21</c:v>
                </c:pt>
                <c:pt idx="64">
                  <c:v>07.02.21</c:v>
                </c:pt>
                <c:pt idx="65">
                  <c:v>08.02.21</c:v>
                </c:pt>
                <c:pt idx="66">
                  <c:v>09.02.21</c:v>
                </c:pt>
                <c:pt idx="67">
                  <c:v>10.02.21</c:v>
                </c:pt>
                <c:pt idx="68">
                  <c:v>11.02.21</c:v>
                </c:pt>
                <c:pt idx="69">
                  <c:v>12.02.21</c:v>
                </c:pt>
                <c:pt idx="70">
                  <c:v>13.02.21</c:v>
                </c:pt>
                <c:pt idx="71">
                  <c:v>14.02.21</c:v>
                </c:pt>
                <c:pt idx="72">
                  <c:v>15.02.21</c:v>
                </c:pt>
                <c:pt idx="73">
                  <c:v>16.02.21</c:v>
                </c:pt>
                <c:pt idx="74">
                  <c:v>17.02.21</c:v>
                </c:pt>
                <c:pt idx="75">
                  <c:v>18.02.21</c:v>
                </c:pt>
                <c:pt idx="76">
                  <c:v>19.02.21</c:v>
                </c:pt>
                <c:pt idx="77">
                  <c:v>20.02.21</c:v>
                </c:pt>
                <c:pt idx="78">
                  <c:v>21.02.21</c:v>
                </c:pt>
                <c:pt idx="79">
                  <c:v>22.02.21</c:v>
                </c:pt>
                <c:pt idx="80">
                  <c:v>23.02.21</c:v>
                </c:pt>
                <c:pt idx="81">
                  <c:v>24.02.21</c:v>
                </c:pt>
                <c:pt idx="82">
                  <c:v>25.02.21</c:v>
                </c:pt>
                <c:pt idx="83">
                  <c:v>26.02.21</c:v>
                </c:pt>
                <c:pt idx="84">
                  <c:v>27.02.21</c:v>
                </c:pt>
                <c:pt idx="85">
                  <c:v>28.02.21</c:v>
                </c:pt>
                <c:pt idx="86">
                  <c:v>01.03.21</c:v>
                </c:pt>
                <c:pt idx="87">
                  <c:v>02.03.21</c:v>
                </c:pt>
                <c:pt idx="88">
                  <c:v>03.03.21</c:v>
                </c:pt>
                <c:pt idx="89">
                  <c:v>04.03.21</c:v>
                </c:pt>
                <c:pt idx="90">
                  <c:v>05.03.21</c:v>
                </c:pt>
                <c:pt idx="91">
                  <c:v>06.03.21</c:v>
                </c:pt>
                <c:pt idx="92">
                  <c:v>07.03.21</c:v>
                </c:pt>
                <c:pt idx="93">
                  <c:v>08.03.21</c:v>
                </c:pt>
                <c:pt idx="94">
                  <c:v>09.03.21</c:v>
                </c:pt>
                <c:pt idx="95">
                  <c:v>10.03.21</c:v>
                </c:pt>
                <c:pt idx="96">
                  <c:v>11.03.21</c:v>
                </c:pt>
                <c:pt idx="97">
                  <c:v>12.03.21</c:v>
                </c:pt>
                <c:pt idx="98">
                  <c:v>13.03.21</c:v>
                </c:pt>
                <c:pt idx="99">
                  <c:v>14.03.21</c:v>
                </c:pt>
                <c:pt idx="100">
                  <c:v>15.03.21</c:v>
                </c:pt>
                <c:pt idx="101">
                  <c:v>16.03.21</c:v>
                </c:pt>
                <c:pt idx="102">
                  <c:v>17.03.21</c:v>
                </c:pt>
                <c:pt idx="103">
                  <c:v>18.03.21</c:v>
                </c:pt>
                <c:pt idx="104">
                  <c:v>19.03.21</c:v>
                </c:pt>
                <c:pt idx="105">
                  <c:v>20.03.21</c:v>
                </c:pt>
                <c:pt idx="106">
                  <c:v>21.03.21</c:v>
                </c:pt>
                <c:pt idx="107">
                  <c:v>22.03.21</c:v>
                </c:pt>
                <c:pt idx="108">
                  <c:v>23.03.21</c:v>
                </c:pt>
                <c:pt idx="109">
                  <c:v>24.03.21</c:v>
                </c:pt>
                <c:pt idx="110">
                  <c:v>25.03.21</c:v>
                </c:pt>
                <c:pt idx="111">
                  <c:v>26.03.21</c:v>
                </c:pt>
                <c:pt idx="112">
                  <c:v>27.03.21</c:v>
                </c:pt>
                <c:pt idx="113">
                  <c:v>28.03.21</c:v>
                </c:pt>
                <c:pt idx="114">
                  <c:v>29.03.21</c:v>
                </c:pt>
                <c:pt idx="115">
                  <c:v>30.03.21</c:v>
                </c:pt>
                <c:pt idx="116">
                  <c:v>31.03.21</c:v>
                </c:pt>
                <c:pt idx="117">
                  <c:v>01.04.21</c:v>
                </c:pt>
                <c:pt idx="118">
                  <c:v>02.04.21</c:v>
                </c:pt>
                <c:pt idx="119">
                  <c:v>03.04.21</c:v>
                </c:pt>
                <c:pt idx="120">
                  <c:v>04.04.21</c:v>
                </c:pt>
                <c:pt idx="121">
                  <c:v>05.04.21</c:v>
                </c:pt>
                <c:pt idx="122">
                  <c:v>06.04.21</c:v>
                </c:pt>
                <c:pt idx="123">
                  <c:v>07.04.21</c:v>
                </c:pt>
                <c:pt idx="124">
                  <c:v>08.04.21</c:v>
                </c:pt>
                <c:pt idx="125">
                  <c:v>09.04.21</c:v>
                </c:pt>
                <c:pt idx="126">
                  <c:v>10.04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108</c:v>
                </c:pt>
                <c:pt idx="1">
                  <c:v>61</c:v>
                </c:pt>
                <c:pt idx="2">
                  <c:v>242</c:v>
                </c:pt>
                <c:pt idx="3">
                  <c:v>212</c:v>
                </c:pt>
                <c:pt idx="4">
                  <c:v>203</c:v>
                </c:pt>
                <c:pt idx="5">
                  <c:v>177</c:v>
                </c:pt>
                <c:pt idx="6">
                  <c:v>196</c:v>
                </c:pt>
                <c:pt idx="7">
                  <c:v>90</c:v>
                </c:pt>
                <c:pt idx="8">
                  <c:v>65</c:v>
                </c:pt>
                <c:pt idx="9">
                  <c:v>227</c:v>
                </c:pt>
                <c:pt idx="10">
                  <c:v>218</c:v>
                </c:pt>
                <c:pt idx="11">
                  <c:v>202</c:v>
                </c:pt>
                <c:pt idx="12">
                  <c:v>165</c:v>
                </c:pt>
                <c:pt idx="13">
                  <c:v>223</c:v>
                </c:pt>
                <c:pt idx="14">
                  <c:v>111</c:v>
                </c:pt>
                <c:pt idx="15">
                  <c:v>104</c:v>
                </c:pt>
                <c:pt idx="16">
                  <c:v>274</c:v>
                </c:pt>
                <c:pt idx="17">
                  <c:v>295</c:v>
                </c:pt>
                <c:pt idx="18">
                  <c:v>293</c:v>
                </c:pt>
                <c:pt idx="19">
                  <c:v>88</c:v>
                </c:pt>
                <c:pt idx="20">
                  <c:v>78</c:v>
                </c:pt>
                <c:pt idx="21">
                  <c:v>115</c:v>
                </c:pt>
                <c:pt idx="22">
                  <c:v>120</c:v>
                </c:pt>
                <c:pt idx="23">
                  <c:v>331</c:v>
                </c:pt>
                <c:pt idx="24">
                  <c:v>390</c:v>
                </c:pt>
                <c:pt idx="25">
                  <c:v>358</c:v>
                </c:pt>
                <c:pt idx="26">
                  <c:v>249</c:v>
                </c:pt>
                <c:pt idx="27">
                  <c:v>80</c:v>
                </c:pt>
                <c:pt idx="28">
                  <c:v>138</c:v>
                </c:pt>
                <c:pt idx="29">
                  <c:v>156</c:v>
                </c:pt>
                <c:pt idx="30">
                  <c:v>379</c:v>
                </c:pt>
                <c:pt idx="31">
                  <c:v>375</c:v>
                </c:pt>
                <c:pt idx="32">
                  <c:v>338</c:v>
                </c:pt>
                <c:pt idx="33">
                  <c:v>272</c:v>
                </c:pt>
                <c:pt idx="34">
                  <c:v>241</c:v>
                </c:pt>
                <c:pt idx="35">
                  <c:v>126</c:v>
                </c:pt>
                <c:pt idx="36">
                  <c:v>74</c:v>
                </c:pt>
                <c:pt idx="37">
                  <c:v>272</c:v>
                </c:pt>
                <c:pt idx="38">
                  <c:v>226</c:v>
                </c:pt>
                <c:pt idx="39">
                  <c:v>191</c:v>
                </c:pt>
                <c:pt idx="40">
                  <c:v>157</c:v>
                </c:pt>
                <c:pt idx="41">
                  <c:v>197</c:v>
                </c:pt>
                <c:pt idx="42">
                  <c:v>88</c:v>
                </c:pt>
                <c:pt idx="43">
                  <c:v>45</c:v>
                </c:pt>
                <c:pt idx="44">
                  <c:v>191</c:v>
                </c:pt>
                <c:pt idx="45">
                  <c:v>208</c:v>
                </c:pt>
                <c:pt idx="46">
                  <c:v>171</c:v>
                </c:pt>
                <c:pt idx="47">
                  <c:v>144</c:v>
                </c:pt>
                <c:pt idx="48">
                  <c:v>136</c:v>
                </c:pt>
                <c:pt idx="49">
                  <c:v>66</c:v>
                </c:pt>
                <c:pt idx="50">
                  <c:v>42</c:v>
                </c:pt>
                <c:pt idx="51">
                  <c:v>152</c:v>
                </c:pt>
                <c:pt idx="52">
                  <c:v>166</c:v>
                </c:pt>
                <c:pt idx="53">
                  <c:v>109</c:v>
                </c:pt>
                <c:pt idx="54">
                  <c:v>124</c:v>
                </c:pt>
                <c:pt idx="55">
                  <c:v>102</c:v>
                </c:pt>
                <c:pt idx="56">
                  <c:v>53</c:v>
                </c:pt>
                <c:pt idx="57">
                  <c:v>30</c:v>
                </c:pt>
                <c:pt idx="58">
                  <c:v>122</c:v>
                </c:pt>
                <c:pt idx="59">
                  <c:v>112</c:v>
                </c:pt>
                <c:pt idx="60">
                  <c:v>124</c:v>
                </c:pt>
                <c:pt idx="61">
                  <c:v>104</c:v>
                </c:pt>
                <c:pt idx="62">
                  <c:v>106</c:v>
                </c:pt>
                <c:pt idx="63">
                  <c:v>55</c:v>
                </c:pt>
                <c:pt idx="64">
                  <c:v>28</c:v>
                </c:pt>
                <c:pt idx="65">
                  <c:v>119</c:v>
                </c:pt>
                <c:pt idx="66">
                  <c:v>110</c:v>
                </c:pt>
                <c:pt idx="67">
                  <c:v>101</c:v>
                </c:pt>
                <c:pt idx="68">
                  <c:v>105</c:v>
                </c:pt>
                <c:pt idx="69">
                  <c:v>98</c:v>
                </c:pt>
                <c:pt idx="70">
                  <c:v>45</c:v>
                </c:pt>
                <c:pt idx="71">
                  <c:v>28</c:v>
                </c:pt>
                <c:pt idx="72">
                  <c:v>117</c:v>
                </c:pt>
                <c:pt idx="73">
                  <c:v>116</c:v>
                </c:pt>
                <c:pt idx="74">
                  <c:v>111</c:v>
                </c:pt>
                <c:pt idx="75">
                  <c:v>109</c:v>
                </c:pt>
                <c:pt idx="76">
                  <c:v>123</c:v>
                </c:pt>
                <c:pt idx="77">
                  <c:v>55</c:v>
                </c:pt>
                <c:pt idx="78">
                  <c:v>35</c:v>
                </c:pt>
                <c:pt idx="79">
                  <c:v>122</c:v>
                </c:pt>
                <c:pt idx="80">
                  <c:v>150</c:v>
                </c:pt>
                <c:pt idx="81">
                  <c:v>130</c:v>
                </c:pt>
                <c:pt idx="82">
                  <c:v>118</c:v>
                </c:pt>
                <c:pt idx="83">
                  <c:v>143</c:v>
                </c:pt>
                <c:pt idx="84">
                  <c:v>75</c:v>
                </c:pt>
                <c:pt idx="85">
                  <c:v>36</c:v>
                </c:pt>
                <c:pt idx="86">
                  <c:v>125</c:v>
                </c:pt>
                <c:pt idx="87">
                  <c:v>135</c:v>
                </c:pt>
                <c:pt idx="88">
                  <c:v>113</c:v>
                </c:pt>
                <c:pt idx="89">
                  <c:v>112</c:v>
                </c:pt>
                <c:pt idx="90">
                  <c:v>116</c:v>
                </c:pt>
                <c:pt idx="91">
                  <c:v>60</c:v>
                </c:pt>
                <c:pt idx="92">
                  <c:v>37</c:v>
                </c:pt>
                <c:pt idx="93">
                  <c:v>103</c:v>
                </c:pt>
                <c:pt idx="94">
                  <c:v>116</c:v>
                </c:pt>
                <c:pt idx="95">
                  <c:v>108</c:v>
                </c:pt>
                <c:pt idx="96">
                  <c:v>87</c:v>
                </c:pt>
                <c:pt idx="97">
                  <c:v>113</c:v>
                </c:pt>
                <c:pt idx="98">
                  <c:v>50</c:v>
                </c:pt>
                <c:pt idx="99">
                  <c:v>30</c:v>
                </c:pt>
                <c:pt idx="100">
                  <c:v>105</c:v>
                </c:pt>
                <c:pt idx="101">
                  <c:v>86</c:v>
                </c:pt>
                <c:pt idx="102">
                  <c:v>88</c:v>
                </c:pt>
                <c:pt idx="103">
                  <c:v>77</c:v>
                </c:pt>
                <c:pt idx="104">
                  <c:v>78</c:v>
                </c:pt>
                <c:pt idx="105">
                  <c:v>30</c:v>
                </c:pt>
                <c:pt idx="106">
                  <c:v>24</c:v>
                </c:pt>
                <c:pt idx="107">
                  <c:v>97</c:v>
                </c:pt>
                <c:pt idx="108">
                  <c:v>64</c:v>
                </c:pt>
                <c:pt idx="109">
                  <c:v>65</c:v>
                </c:pt>
                <c:pt idx="110">
                  <c:v>46</c:v>
                </c:pt>
                <c:pt idx="111">
                  <c:v>51</c:v>
                </c:pt>
                <c:pt idx="112">
                  <c:v>29</c:v>
                </c:pt>
                <c:pt idx="113">
                  <c:v>18</c:v>
                </c:pt>
                <c:pt idx="114">
                  <c:v>56</c:v>
                </c:pt>
                <c:pt idx="115">
                  <c:v>53</c:v>
                </c:pt>
                <c:pt idx="116">
                  <c:v>36</c:v>
                </c:pt>
                <c:pt idx="117">
                  <c:v>45</c:v>
                </c:pt>
                <c:pt idx="118">
                  <c:v>26</c:v>
                </c:pt>
                <c:pt idx="119">
                  <c:v>22</c:v>
                </c:pt>
                <c:pt idx="120">
                  <c:v>22</c:v>
                </c:pt>
                <c:pt idx="121">
                  <c:v>22</c:v>
                </c:pt>
                <c:pt idx="122">
                  <c:v>68</c:v>
                </c:pt>
                <c:pt idx="123">
                  <c:v>47</c:v>
                </c:pt>
                <c:pt idx="124">
                  <c:v>33</c:v>
                </c:pt>
                <c:pt idx="125">
                  <c:v>25</c:v>
                </c:pt>
                <c:pt idx="126">
                  <c:v>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6.2810391044661358E-4"/>
                  <c:y val="-5.100690113452494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85260247928398"/>
                      <c:h val="0.111368653117717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5.12.20</c:v>
                </c:pt>
                <c:pt idx="1">
                  <c:v>06.12.20</c:v>
                </c:pt>
                <c:pt idx="2">
                  <c:v>07.12.20</c:v>
                </c:pt>
                <c:pt idx="3">
                  <c:v>08.12.20</c:v>
                </c:pt>
                <c:pt idx="4">
                  <c:v>09.12.20</c:v>
                </c:pt>
                <c:pt idx="5">
                  <c:v>10.12.20</c:v>
                </c:pt>
                <c:pt idx="6">
                  <c:v>11.12.20</c:v>
                </c:pt>
                <c:pt idx="7">
                  <c:v>12.12.20</c:v>
                </c:pt>
                <c:pt idx="8">
                  <c:v>13.12.20</c:v>
                </c:pt>
                <c:pt idx="9">
                  <c:v>14.12.20</c:v>
                </c:pt>
                <c:pt idx="10">
                  <c:v>15.12.20</c:v>
                </c:pt>
                <c:pt idx="11">
                  <c:v>16.12.20</c:v>
                </c:pt>
                <c:pt idx="12">
                  <c:v>17.12.20</c:v>
                </c:pt>
                <c:pt idx="13">
                  <c:v>18.12.20</c:v>
                </c:pt>
                <c:pt idx="14">
                  <c:v>19.12.20</c:v>
                </c:pt>
                <c:pt idx="15">
                  <c:v>20.12.20</c:v>
                </c:pt>
                <c:pt idx="16">
                  <c:v>21.12.20</c:v>
                </c:pt>
                <c:pt idx="17">
                  <c:v>22.12.20</c:v>
                </c:pt>
                <c:pt idx="18">
                  <c:v>23.12.20</c:v>
                </c:pt>
                <c:pt idx="19">
                  <c:v>24.12.20</c:v>
                </c:pt>
                <c:pt idx="20">
                  <c:v>25.12.20</c:v>
                </c:pt>
                <c:pt idx="21">
                  <c:v>26.12.20</c:v>
                </c:pt>
                <c:pt idx="22">
                  <c:v>27.12.20</c:v>
                </c:pt>
                <c:pt idx="23">
                  <c:v>28.12.20</c:v>
                </c:pt>
                <c:pt idx="24">
                  <c:v>29.12.20</c:v>
                </c:pt>
                <c:pt idx="25">
                  <c:v>30.12.20</c:v>
                </c:pt>
                <c:pt idx="26">
                  <c:v>31.12.20</c:v>
                </c:pt>
                <c:pt idx="27">
                  <c:v>01.01.21</c:v>
                </c:pt>
                <c:pt idx="28">
                  <c:v>02.01.21</c:v>
                </c:pt>
                <c:pt idx="29">
                  <c:v>03.01.21</c:v>
                </c:pt>
                <c:pt idx="30">
                  <c:v>04.01.21</c:v>
                </c:pt>
                <c:pt idx="31">
                  <c:v>05.01.21</c:v>
                </c:pt>
                <c:pt idx="32">
                  <c:v>06.01.21</c:v>
                </c:pt>
                <c:pt idx="33">
                  <c:v>07.01.21</c:v>
                </c:pt>
                <c:pt idx="34">
                  <c:v>08.01.21</c:v>
                </c:pt>
                <c:pt idx="35">
                  <c:v>09.01.21</c:v>
                </c:pt>
                <c:pt idx="36">
                  <c:v>10.01.21</c:v>
                </c:pt>
                <c:pt idx="37">
                  <c:v>11.01.21</c:v>
                </c:pt>
                <c:pt idx="38">
                  <c:v>12.01.21</c:v>
                </c:pt>
                <c:pt idx="39">
                  <c:v>13.01.21</c:v>
                </c:pt>
                <c:pt idx="40">
                  <c:v>14.01.21</c:v>
                </c:pt>
                <c:pt idx="41">
                  <c:v>15.01.21</c:v>
                </c:pt>
                <c:pt idx="42">
                  <c:v>16.01.21</c:v>
                </c:pt>
                <c:pt idx="43">
                  <c:v>17.01.21</c:v>
                </c:pt>
                <c:pt idx="44">
                  <c:v>18.01.21</c:v>
                </c:pt>
                <c:pt idx="45">
                  <c:v>19.01.21</c:v>
                </c:pt>
                <c:pt idx="46">
                  <c:v>20.01.21</c:v>
                </c:pt>
                <c:pt idx="47">
                  <c:v>21.01.21</c:v>
                </c:pt>
                <c:pt idx="48">
                  <c:v>22.01.21</c:v>
                </c:pt>
                <c:pt idx="49">
                  <c:v>23.01.21</c:v>
                </c:pt>
                <c:pt idx="50">
                  <c:v>24.01.21</c:v>
                </c:pt>
                <c:pt idx="51">
                  <c:v>25.01.21</c:v>
                </c:pt>
                <c:pt idx="52">
                  <c:v>26.01.21</c:v>
                </c:pt>
                <c:pt idx="53">
                  <c:v>27.01.21</c:v>
                </c:pt>
                <c:pt idx="54">
                  <c:v>28.01.21</c:v>
                </c:pt>
                <c:pt idx="55">
                  <c:v>29.01.21</c:v>
                </c:pt>
                <c:pt idx="56">
                  <c:v>30.01.21</c:v>
                </c:pt>
                <c:pt idx="57">
                  <c:v>31.01.21</c:v>
                </c:pt>
                <c:pt idx="58">
                  <c:v>01.02.21</c:v>
                </c:pt>
                <c:pt idx="59">
                  <c:v>02.02.21</c:v>
                </c:pt>
                <c:pt idx="60">
                  <c:v>03.02.21</c:v>
                </c:pt>
                <c:pt idx="61">
                  <c:v>04.02.21</c:v>
                </c:pt>
                <c:pt idx="62">
                  <c:v>05.02.21</c:v>
                </c:pt>
                <c:pt idx="63">
                  <c:v>06.02.21</c:v>
                </c:pt>
                <c:pt idx="64">
                  <c:v>07.02.21</c:v>
                </c:pt>
                <c:pt idx="65">
                  <c:v>08.02.21</c:v>
                </c:pt>
                <c:pt idx="66">
                  <c:v>09.02.21</c:v>
                </c:pt>
                <c:pt idx="67">
                  <c:v>10.02.21</c:v>
                </c:pt>
                <c:pt idx="68">
                  <c:v>11.02.21</c:v>
                </c:pt>
                <c:pt idx="69">
                  <c:v>12.02.21</c:v>
                </c:pt>
                <c:pt idx="70">
                  <c:v>13.02.21</c:v>
                </c:pt>
                <c:pt idx="71">
                  <c:v>14.02.21</c:v>
                </c:pt>
                <c:pt idx="72">
                  <c:v>15.02.21</c:v>
                </c:pt>
                <c:pt idx="73">
                  <c:v>16.02.21</c:v>
                </c:pt>
                <c:pt idx="74">
                  <c:v>17.02.21</c:v>
                </c:pt>
                <c:pt idx="75">
                  <c:v>18.02.21</c:v>
                </c:pt>
                <c:pt idx="76">
                  <c:v>19.02.21</c:v>
                </c:pt>
                <c:pt idx="77">
                  <c:v>20.02.21</c:v>
                </c:pt>
                <c:pt idx="78">
                  <c:v>21.02.21</c:v>
                </c:pt>
                <c:pt idx="79">
                  <c:v>22.02.21</c:v>
                </c:pt>
                <c:pt idx="80">
                  <c:v>23.02.21</c:v>
                </c:pt>
                <c:pt idx="81">
                  <c:v>24.02.21</c:v>
                </c:pt>
                <c:pt idx="82">
                  <c:v>25.02.21</c:v>
                </c:pt>
                <c:pt idx="83">
                  <c:v>26.02.21</c:v>
                </c:pt>
                <c:pt idx="84">
                  <c:v>27.02.21</c:v>
                </c:pt>
                <c:pt idx="85">
                  <c:v>28.02.21</c:v>
                </c:pt>
                <c:pt idx="86">
                  <c:v>01.03.21</c:v>
                </c:pt>
                <c:pt idx="87">
                  <c:v>02.03.21</c:v>
                </c:pt>
                <c:pt idx="88">
                  <c:v>03.03.21</c:v>
                </c:pt>
                <c:pt idx="89">
                  <c:v>04.03.21</c:v>
                </c:pt>
                <c:pt idx="90">
                  <c:v>05.03.21</c:v>
                </c:pt>
                <c:pt idx="91">
                  <c:v>06.03.21</c:v>
                </c:pt>
                <c:pt idx="92">
                  <c:v>07.03.21</c:v>
                </c:pt>
                <c:pt idx="93">
                  <c:v>08.03.21</c:v>
                </c:pt>
                <c:pt idx="94">
                  <c:v>09.03.21</c:v>
                </c:pt>
                <c:pt idx="95">
                  <c:v>10.03.21</c:v>
                </c:pt>
                <c:pt idx="96">
                  <c:v>11.03.21</c:v>
                </c:pt>
                <c:pt idx="97">
                  <c:v>12.03.21</c:v>
                </c:pt>
                <c:pt idx="98">
                  <c:v>13.03.21</c:v>
                </c:pt>
                <c:pt idx="99">
                  <c:v>14.03.21</c:v>
                </c:pt>
                <c:pt idx="100">
                  <c:v>15.03.21</c:v>
                </c:pt>
                <c:pt idx="101">
                  <c:v>16.03.21</c:v>
                </c:pt>
                <c:pt idx="102">
                  <c:v>17.03.21</c:v>
                </c:pt>
                <c:pt idx="103">
                  <c:v>18.03.21</c:v>
                </c:pt>
                <c:pt idx="104">
                  <c:v>19.03.21</c:v>
                </c:pt>
                <c:pt idx="105">
                  <c:v>20.03.21</c:v>
                </c:pt>
                <c:pt idx="106">
                  <c:v>21.03.21</c:v>
                </c:pt>
                <c:pt idx="107">
                  <c:v>22.03.21</c:v>
                </c:pt>
                <c:pt idx="108">
                  <c:v>23.03.21</c:v>
                </c:pt>
                <c:pt idx="109">
                  <c:v>24.03.21</c:v>
                </c:pt>
                <c:pt idx="110">
                  <c:v>25.03.21</c:v>
                </c:pt>
                <c:pt idx="111">
                  <c:v>26.03.21</c:v>
                </c:pt>
                <c:pt idx="112">
                  <c:v>27.03.21</c:v>
                </c:pt>
                <c:pt idx="113">
                  <c:v>28.03.21</c:v>
                </c:pt>
                <c:pt idx="114">
                  <c:v>29.03.21</c:v>
                </c:pt>
                <c:pt idx="115">
                  <c:v>30.03.21</c:v>
                </c:pt>
                <c:pt idx="116">
                  <c:v>31.03.21</c:v>
                </c:pt>
                <c:pt idx="117">
                  <c:v>01.04.21</c:v>
                </c:pt>
                <c:pt idx="118">
                  <c:v>02.04.21</c:v>
                </c:pt>
                <c:pt idx="119">
                  <c:v>03.04.21</c:v>
                </c:pt>
                <c:pt idx="120">
                  <c:v>04.04.21</c:v>
                </c:pt>
                <c:pt idx="121">
                  <c:v>05.04.21</c:v>
                </c:pt>
                <c:pt idx="122">
                  <c:v>06.04.21</c:v>
                </c:pt>
                <c:pt idx="123">
                  <c:v>07.04.21</c:v>
                </c:pt>
                <c:pt idx="124">
                  <c:v>08.04.21</c:v>
                </c:pt>
                <c:pt idx="125">
                  <c:v>09.04.21</c:v>
                </c:pt>
                <c:pt idx="126">
                  <c:v>10.04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85</c:v>
                </c:pt>
                <c:pt idx="1">
                  <c:v>34</c:v>
                </c:pt>
                <c:pt idx="2">
                  <c:v>171</c:v>
                </c:pt>
                <c:pt idx="3">
                  <c:v>159</c:v>
                </c:pt>
                <c:pt idx="4">
                  <c:v>172</c:v>
                </c:pt>
                <c:pt idx="5">
                  <c:v>128</c:v>
                </c:pt>
                <c:pt idx="6">
                  <c:v>176</c:v>
                </c:pt>
                <c:pt idx="7">
                  <c:v>81</c:v>
                </c:pt>
                <c:pt idx="8">
                  <c:v>41</c:v>
                </c:pt>
                <c:pt idx="9">
                  <c:v>170</c:v>
                </c:pt>
                <c:pt idx="10">
                  <c:v>176</c:v>
                </c:pt>
                <c:pt idx="11">
                  <c:v>181</c:v>
                </c:pt>
                <c:pt idx="12">
                  <c:v>160</c:v>
                </c:pt>
                <c:pt idx="13">
                  <c:v>173</c:v>
                </c:pt>
                <c:pt idx="14">
                  <c:v>93</c:v>
                </c:pt>
                <c:pt idx="15">
                  <c:v>67</c:v>
                </c:pt>
                <c:pt idx="16">
                  <c:v>198</c:v>
                </c:pt>
                <c:pt idx="17">
                  <c:v>224</c:v>
                </c:pt>
                <c:pt idx="18">
                  <c:v>271</c:v>
                </c:pt>
                <c:pt idx="19">
                  <c:v>90</c:v>
                </c:pt>
                <c:pt idx="20">
                  <c:v>62</c:v>
                </c:pt>
                <c:pt idx="21">
                  <c:v>72</c:v>
                </c:pt>
                <c:pt idx="22">
                  <c:v>100</c:v>
                </c:pt>
                <c:pt idx="23">
                  <c:v>264</c:v>
                </c:pt>
                <c:pt idx="24">
                  <c:v>334</c:v>
                </c:pt>
                <c:pt idx="25">
                  <c:v>338</c:v>
                </c:pt>
                <c:pt idx="26">
                  <c:v>247</c:v>
                </c:pt>
                <c:pt idx="27">
                  <c:v>58</c:v>
                </c:pt>
                <c:pt idx="28">
                  <c:v>122</c:v>
                </c:pt>
                <c:pt idx="29">
                  <c:v>86</c:v>
                </c:pt>
                <c:pt idx="30">
                  <c:v>311</c:v>
                </c:pt>
                <c:pt idx="31">
                  <c:v>301</c:v>
                </c:pt>
                <c:pt idx="32">
                  <c:v>300</c:v>
                </c:pt>
                <c:pt idx="33">
                  <c:v>267</c:v>
                </c:pt>
                <c:pt idx="34">
                  <c:v>228</c:v>
                </c:pt>
                <c:pt idx="35">
                  <c:v>119</c:v>
                </c:pt>
                <c:pt idx="36">
                  <c:v>67</c:v>
                </c:pt>
                <c:pt idx="37">
                  <c:v>186</c:v>
                </c:pt>
                <c:pt idx="38">
                  <c:v>206</c:v>
                </c:pt>
                <c:pt idx="39">
                  <c:v>224</c:v>
                </c:pt>
                <c:pt idx="40">
                  <c:v>143</c:v>
                </c:pt>
                <c:pt idx="41">
                  <c:v>189</c:v>
                </c:pt>
                <c:pt idx="42">
                  <c:v>81</c:v>
                </c:pt>
                <c:pt idx="43">
                  <c:v>32</c:v>
                </c:pt>
                <c:pt idx="44">
                  <c:v>193</c:v>
                </c:pt>
                <c:pt idx="45">
                  <c:v>193</c:v>
                </c:pt>
                <c:pt idx="46">
                  <c:v>125</c:v>
                </c:pt>
                <c:pt idx="47">
                  <c:v>154</c:v>
                </c:pt>
                <c:pt idx="48">
                  <c:v>151</c:v>
                </c:pt>
                <c:pt idx="49">
                  <c:v>69</c:v>
                </c:pt>
                <c:pt idx="50">
                  <c:v>48</c:v>
                </c:pt>
                <c:pt idx="51">
                  <c:v>139</c:v>
                </c:pt>
                <c:pt idx="52">
                  <c:v>144</c:v>
                </c:pt>
                <c:pt idx="53">
                  <c:v>154</c:v>
                </c:pt>
                <c:pt idx="54">
                  <c:v>130</c:v>
                </c:pt>
                <c:pt idx="55">
                  <c:v>98</c:v>
                </c:pt>
                <c:pt idx="56">
                  <c:v>54</c:v>
                </c:pt>
                <c:pt idx="57">
                  <c:v>44</c:v>
                </c:pt>
                <c:pt idx="58">
                  <c:v>114</c:v>
                </c:pt>
                <c:pt idx="59">
                  <c:v>132</c:v>
                </c:pt>
                <c:pt idx="60">
                  <c:v>142</c:v>
                </c:pt>
                <c:pt idx="61">
                  <c:v>87</c:v>
                </c:pt>
                <c:pt idx="62">
                  <c:v>108</c:v>
                </c:pt>
                <c:pt idx="63">
                  <c:v>48</c:v>
                </c:pt>
                <c:pt idx="64">
                  <c:v>40</c:v>
                </c:pt>
                <c:pt idx="65">
                  <c:v>118</c:v>
                </c:pt>
                <c:pt idx="66">
                  <c:v>142</c:v>
                </c:pt>
                <c:pt idx="67">
                  <c:v>137</c:v>
                </c:pt>
                <c:pt idx="68">
                  <c:v>107</c:v>
                </c:pt>
                <c:pt idx="69">
                  <c:v>109</c:v>
                </c:pt>
                <c:pt idx="70">
                  <c:v>55</c:v>
                </c:pt>
                <c:pt idx="71">
                  <c:v>24</c:v>
                </c:pt>
                <c:pt idx="72">
                  <c:v>124</c:v>
                </c:pt>
                <c:pt idx="73">
                  <c:v>124</c:v>
                </c:pt>
                <c:pt idx="74">
                  <c:v>132</c:v>
                </c:pt>
                <c:pt idx="75">
                  <c:v>127</c:v>
                </c:pt>
                <c:pt idx="76">
                  <c:v>116</c:v>
                </c:pt>
                <c:pt idx="77">
                  <c:v>62</c:v>
                </c:pt>
                <c:pt idx="78">
                  <c:v>28</c:v>
                </c:pt>
                <c:pt idx="79">
                  <c:v>121</c:v>
                </c:pt>
                <c:pt idx="80">
                  <c:v>159</c:v>
                </c:pt>
                <c:pt idx="81">
                  <c:v>141</c:v>
                </c:pt>
                <c:pt idx="82">
                  <c:v>138</c:v>
                </c:pt>
                <c:pt idx="83">
                  <c:v>140</c:v>
                </c:pt>
                <c:pt idx="84">
                  <c:v>76</c:v>
                </c:pt>
                <c:pt idx="85">
                  <c:v>37</c:v>
                </c:pt>
                <c:pt idx="86">
                  <c:v>153</c:v>
                </c:pt>
                <c:pt idx="87">
                  <c:v>170</c:v>
                </c:pt>
                <c:pt idx="88">
                  <c:v>166</c:v>
                </c:pt>
                <c:pt idx="89">
                  <c:v>148</c:v>
                </c:pt>
                <c:pt idx="90">
                  <c:v>137</c:v>
                </c:pt>
                <c:pt idx="91">
                  <c:v>70</c:v>
                </c:pt>
                <c:pt idx="92">
                  <c:v>32</c:v>
                </c:pt>
                <c:pt idx="93">
                  <c:v>114</c:v>
                </c:pt>
                <c:pt idx="94">
                  <c:v>147</c:v>
                </c:pt>
                <c:pt idx="95">
                  <c:v>125</c:v>
                </c:pt>
                <c:pt idx="96">
                  <c:v>109</c:v>
                </c:pt>
                <c:pt idx="97">
                  <c:v>122</c:v>
                </c:pt>
                <c:pt idx="98">
                  <c:v>64</c:v>
                </c:pt>
                <c:pt idx="99">
                  <c:v>32</c:v>
                </c:pt>
                <c:pt idx="100">
                  <c:v>117</c:v>
                </c:pt>
                <c:pt idx="101">
                  <c:v>122</c:v>
                </c:pt>
                <c:pt idx="102">
                  <c:v>97</c:v>
                </c:pt>
                <c:pt idx="103">
                  <c:v>92</c:v>
                </c:pt>
                <c:pt idx="104">
                  <c:v>71</c:v>
                </c:pt>
                <c:pt idx="105">
                  <c:v>28</c:v>
                </c:pt>
                <c:pt idx="106">
                  <c:v>18</c:v>
                </c:pt>
                <c:pt idx="107">
                  <c:v>84</c:v>
                </c:pt>
                <c:pt idx="108">
                  <c:v>84</c:v>
                </c:pt>
                <c:pt idx="109">
                  <c:v>66</c:v>
                </c:pt>
                <c:pt idx="110">
                  <c:v>65</c:v>
                </c:pt>
                <c:pt idx="111">
                  <c:v>56</c:v>
                </c:pt>
                <c:pt idx="112">
                  <c:v>19</c:v>
                </c:pt>
                <c:pt idx="113">
                  <c:v>7</c:v>
                </c:pt>
                <c:pt idx="114">
                  <c:v>69</c:v>
                </c:pt>
                <c:pt idx="115">
                  <c:v>77</c:v>
                </c:pt>
                <c:pt idx="116">
                  <c:v>61</c:v>
                </c:pt>
                <c:pt idx="117">
                  <c:v>33</c:v>
                </c:pt>
                <c:pt idx="118">
                  <c:v>16</c:v>
                </c:pt>
                <c:pt idx="119">
                  <c:v>10</c:v>
                </c:pt>
                <c:pt idx="120">
                  <c:v>15</c:v>
                </c:pt>
                <c:pt idx="121">
                  <c:v>9</c:v>
                </c:pt>
                <c:pt idx="122">
                  <c:v>41</c:v>
                </c:pt>
                <c:pt idx="123">
                  <c:v>40</c:v>
                </c:pt>
                <c:pt idx="124">
                  <c:v>44</c:v>
                </c:pt>
                <c:pt idx="125">
                  <c:v>28</c:v>
                </c:pt>
                <c:pt idx="126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Kraj Vysočina</c:v>
                </c:pt>
                <c:pt idx="3">
                  <c:v>Liberecký kraj</c:v>
                </c:pt>
                <c:pt idx="4">
                  <c:v>Ústecký kraj</c:v>
                </c:pt>
                <c:pt idx="5">
                  <c:v>Královéhradecký kraj</c:v>
                </c:pt>
                <c:pt idx="6">
                  <c:v>Středočeský kraj</c:v>
                </c:pt>
                <c:pt idx="7">
                  <c:v>ČR</c:v>
                </c:pt>
                <c:pt idx="8">
                  <c:v>Jihočeský kraj</c:v>
                </c:pt>
                <c:pt idx="9">
                  <c:v>Jihomorav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3.314669652855542</c:v>
                </c:pt>
                <c:pt idx="1">
                  <c:v>80.974512743628196</c:v>
                </c:pt>
                <c:pt idx="2">
                  <c:v>80.959752321981426</c:v>
                </c:pt>
                <c:pt idx="3">
                  <c:v>78.525121555915717</c:v>
                </c:pt>
                <c:pt idx="4">
                  <c:v>78.309721543722517</c:v>
                </c:pt>
                <c:pt idx="5">
                  <c:v>78.290155440414509</c:v>
                </c:pt>
                <c:pt idx="6">
                  <c:v>78.13939207859994</c:v>
                </c:pt>
                <c:pt idx="7">
                  <c:v>77.829616497154049</c:v>
                </c:pt>
                <c:pt idx="8">
                  <c:v>77.689638076351017</c:v>
                </c:pt>
                <c:pt idx="9">
                  <c:v>77.606358111266943</c:v>
                </c:pt>
                <c:pt idx="10">
                  <c:v>77.422345850718585</c:v>
                </c:pt>
                <c:pt idx="11">
                  <c:v>76.091783863804579</c:v>
                </c:pt>
                <c:pt idx="12">
                  <c:v>74.928366762177646</c:v>
                </c:pt>
                <c:pt idx="13">
                  <c:v>74.482297929191716</c:v>
                </c:pt>
                <c:pt idx="14">
                  <c:v>72.331497508523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Hlavní město Praha</c:v>
                </c:pt>
                <c:pt idx="2">
                  <c:v>Ústecký kraj</c:v>
                </c:pt>
                <c:pt idx="3">
                  <c:v>Středočeský kraj</c:v>
                </c:pt>
                <c:pt idx="4">
                  <c:v>Karlovarský kraj</c:v>
                </c:pt>
                <c:pt idx="5">
                  <c:v>Plzeňský kraj</c:v>
                </c:pt>
                <c:pt idx="6">
                  <c:v>Jihomoravský kraj</c:v>
                </c:pt>
                <c:pt idx="7">
                  <c:v>Jihočeský kraj</c:v>
                </c:pt>
                <c:pt idx="8">
                  <c:v>Královéhradecký kraj</c:v>
                </c:pt>
                <c:pt idx="9">
                  <c:v>ČR</c:v>
                </c:pt>
                <c:pt idx="10">
                  <c:v>Liberec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Olomouc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70.857142857142847</c:v>
                </c:pt>
                <c:pt idx="1">
                  <c:v>70.082728347121389</c:v>
                </c:pt>
                <c:pt idx="2">
                  <c:v>69.582008178100864</c:v>
                </c:pt>
                <c:pt idx="3">
                  <c:v>68.829728230726573</c:v>
                </c:pt>
                <c:pt idx="4">
                  <c:v>67.951463240542466</c:v>
                </c:pt>
                <c:pt idx="5">
                  <c:v>66.258542141230066</c:v>
                </c:pt>
                <c:pt idx="6">
                  <c:v>64.652317880794712</c:v>
                </c:pt>
                <c:pt idx="7">
                  <c:v>64.345479082321191</c:v>
                </c:pt>
                <c:pt idx="8">
                  <c:v>64.331868699922452</c:v>
                </c:pt>
                <c:pt idx="9">
                  <c:v>64.298730440806622</c:v>
                </c:pt>
                <c:pt idx="10">
                  <c:v>61.238615664845177</c:v>
                </c:pt>
                <c:pt idx="11">
                  <c:v>58.723864455659701</c:v>
                </c:pt>
                <c:pt idx="12">
                  <c:v>57.228915662650607</c:v>
                </c:pt>
                <c:pt idx="13">
                  <c:v>57.106481481481488</c:v>
                </c:pt>
                <c:pt idx="14">
                  <c:v>55.495650042886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8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–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2:$P$2</c:f>
              <c:numCache>
                <c:formatCode>General</c:formatCode>
                <c:ptCount val="15"/>
                <c:pt idx="0">
                  <c:v>590.28059405856061</c:v>
                </c:pt>
                <c:pt idx="1">
                  <c:v>814.02372648375899</c:v>
                </c:pt>
                <c:pt idx="2">
                  <c:v>712.53089608244079</c:v>
                </c:pt>
                <c:pt idx="3">
                  <c:v>458.69209786000607</c:v>
                </c:pt>
                <c:pt idx="4">
                  <c:v>444.81820937191839</c:v>
                </c:pt>
                <c:pt idx="5">
                  <c:v>463.22779217341935</c:v>
                </c:pt>
                <c:pt idx="6">
                  <c:v>486.86676371273796</c:v>
                </c:pt>
                <c:pt idx="7">
                  <c:v>567.70884471063334</c:v>
                </c:pt>
                <c:pt idx="8">
                  <c:v>741.07908970215965</c:v>
                </c:pt>
                <c:pt idx="9">
                  <c:v>865.35711388968343</c:v>
                </c:pt>
                <c:pt idx="10">
                  <c:v>828.69803161539016</c:v>
                </c:pt>
                <c:pt idx="11">
                  <c:v>752.391644930908</c:v>
                </c:pt>
                <c:pt idx="12">
                  <c:v>579.82181658292529</c:v>
                </c:pt>
                <c:pt idx="13">
                  <c:v>458.69209786000607</c:v>
                </c:pt>
                <c:pt idx="14">
                  <c:v>292.95249153692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–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3:$P$3</c:f>
              <c:numCache>
                <c:formatCode>General</c:formatCode>
                <c:ptCount val="15"/>
                <c:pt idx="0">
                  <c:v>678.94473044365134</c:v>
                </c:pt>
                <c:pt idx="1">
                  <c:v>846.38731503273789</c:v>
                </c:pt>
                <c:pt idx="2">
                  <c:v>752.77674295577469</c:v>
                </c:pt>
                <c:pt idx="3">
                  <c:v>544.46641179596475</c:v>
                </c:pt>
                <c:pt idx="4">
                  <c:v>518.2935789581544</c:v>
                </c:pt>
                <c:pt idx="5">
                  <c:v>545.37987940638902</c:v>
                </c:pt>
                <c:pt idx="6">
                  <c:v>585.45330631587387</c:v>
                </c:pt>
                <c:pt idx="7">
                  <c:v>661.86685772702253</c:v>
                </c:pt>
                <c:pt idx="8">
                  <c:v>853.29789608551323</c:v>
                </c:pt>
                <c:pt idx="9">
                  <c:v>968.39481499897931</c:v>
                </c:pt>
                <c:pt idx="10">
                  <c:v>919.42500788362258</c:v>
                </c:pt>
                <c:pt idx="11">
                  <c:v>799.40330707047758</c:v>
                </c:pt>
                <c:pt idx="12">
                  <c:v>604.79499006703259</c:v>
                </c:pt>
                <c:pt idx="13">
                  <c:v>458.52102444995347</c:v>
                </c:pt>
                <c:pt idx="14">
                  <c:v>291.55503165761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–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4:$P$4</c:f>
              <c:numCache>
                <c:formatCode>General</c:formatCode>
                <c:ptCount val="15"/>
                <c:pt idx="0">
                  <c:v>636.71499183049548</c:v>
                </c:pt>
                <c:pt idx="1">
                  <c:v>816.5995107822921</c:v>
                </c:pt>
                <c:pt idx="2">
                  <c:v>776.19066956848269</c:v>
                </c:pt>
                <c:pt idx="3">
                  <c:v>574.09632846070895</c:v>
                </c:pt>
                <c:pt idx="4">
                  <c:v>523.15912911426926</c:v>
                </c:pt>
                <c:pt idx="5">
                  <c:v>532.13330104636839</c:v>
                </c:pt>
                <c:pt idx="6">
                  <c:v>561.1614884691918</c:v>
                </c:pt>
                <c:pt idx="7">
                  <c:v>630.64865214455131</c:v>
                </c:pt>
                <c:pt idx="8">
                  <c:v>791.23118118652587</c:v>
                </c:pt>
                <c:pt idx="9">
                  <c:v>915.11486188047502</c:v>
                </c:pt>
                <c:pt idx="10">
                  <c:v>884.98370360566184</c:v>
                </c:pt>
                <c:pt idx="11">
                  <c:v>827.17800395364918</c:v>
                </c:pt>
                <c:pt idx="12">
                  <c:v>632.90472888725787</c:v>
                </c:pt>
                <c:pt idx="13">
                  <c:v>483.10123317154756</c:v>
                </c:pt>
                <c:pt idx="14">
                  <c:v>314.096017623468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–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5:$P$5</c:f>
              <c:numCache>
                <c:formatCode>General</c:formatCode>
                <c:ptCount val="15"/>
                <c:pt idx="0">
                  <c:v>429.04155894245525</c:v>
                </c:pt>
                <c:pt idx="1">
                  <c:v>627.53109434210751</c:v>
                </c:pt>
                <c:pt idx="2">
                  <c:v>599.30983338481099</c:v>
                </c:pt>
                <c:pt idx="3">
                  <c:v>379.96792183337851</c:v>
                </c:pt>
                <c:pt idx="4">
                  <c:v>333.32444886229121</c:v>
                </c:pt>
                <c:pt idx="5">
                  <c:v>342.0260043241243</c:v>
                </c:pt>
                <c:pt idx="6">
                  <c:v>351.43309130988985</c:v>
                </c:pt>
                <c:pt idx="7">
                  <c:v>383.88754141078084</c:v>
                </c:pt>
                <c:pt idx="8">
                  <c:v>483.21070150215502</c:v>
                </c:pt>
                <c:pt idx="9">
                  <c:v>577.51674853445422</c:v>
                </c:pt>
                <c:pt idx="10">
                  <c:v>554.23420824468462</c:v>
                </c:pt>
                <c:pt idx="11">
                  <c:v>522.95564401701427</c:v>
                </c:pt>
                <c:pt idx="12">
                  <c:v>408.50275235686723</c:v>
                </c:pt>
                <c:pt idx="13">
                  <c:v>343.90742172127744</c:v>
                </c:pt>
                <c:pt idx="14">
                  <c:v>212.835343052944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 a více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6:$P$6</c:f>
              <c:numCache>
                <c:formatCode>General</c:formatCode>
                <c:ptCount val="15"/>
                <c:pt idx="0">
                  <c:v>501.33044001137807</c:v>
                </c:pt>
                <c:pt idx="1">
                  <c:v>717.48943509409094</c:v>
                </c:pt>
                <c:pt idx="2">
                  <c:v>759.01692665356825</c:v>
                </c:pt>
                <c:pt idx="3">
                  <c:v>511.77232372720039</c:v>
                </c:pt>
                <c:pt idx="4">
                  <c:v>453.44180090088253</c:v>
                </c:pt>
                <c:pt idx="5">
                  <c:v>417.91539193670536</c:v>
                </c:pt>
                <c:pt idx="6">
                  <c:v>413.11452586046522</c:v>
                </c:pt>
                <c:pt idx="7">
                  <c:v>422.59623636103953</c:v>
                </c:pt>
                <c:pt idx="8">
                  <c:v>521.61409918349273</c:v>
                </c:pt>
                <c:pt idx="9">
                  <c:v>583.30522826317872</c:v>
                </c:pt>
                <c:pt idx="10">
                  <c:v>523.65446726589482</c:v>
                </c:pt>
                <c:pt idx="11">
                  <c:v>502.41063487853211</c:v>
                </c:pt>
                <c:pt idx="12">
                  <c:v>388.27004391592243</c:v>
                </c:pt>
                <c:pt idx="13">
                  <c:v>318.77750746234619</c:v>
                </c:pt>
                <c:pt idx="14">
                  <c:v>194.67511939153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4. 12. –30. 12.</c:v>
                </c:pt>
                <c:pt idx="1">
                  <c:v>31. 12. –6. 1.</c:v>
                </c:pt>
                <c:pt idx="2">
                  <c:v>7. 1. –13. 1.</c:v>
                </c:pt>
                <c:pt idx="3">
                  <c:v>14. 1. –20. 1.</c:v>
                </c:pt>
                <c:pt idx="4">
                  <c:v>21. 1. –27. 1.</c:v>
                </c:pt>
                <c:pt idx="5">
                  <c:v>28. 1. –3. 2.</c:v>
                </c:pt>
                <c:pt idx="6">
                  <c:v>4. 2. –10. 2.</c:v>
                </c:pt>
                <c:pt idx="7">
                  <c:v>11. 2. –17. 2.</c:v>
                </c:pt>
                <c:pt idx="8">
                  <c:v>18. 2. –24. 2.</c:v>
                </c:pt>
                <c:pt idx="9">
                  <c:v>25. 2. –3. 3.</c:v>
                </c:pt>
                <c:pt idx="10">
                  <c:v>4. 3. –10. 3.</c:v>
                </c:pt>
                <c:pt idx="11">
                  <c:v>11. 3. –17. 3.</c:v>
                </c:pt>
                <c:pt idx="12">
                  <c:v>18. 3. –24. 3.</c:v>
                </c:pt>
                <c:pt idx="13">
                  <c:v>25. 3. –31. 3.</c:v>
                </c:pt>
                <c:pt idx="14">
                  <c:v>1. 4. –7. 4.</c:v>
                </c:pt>
              </c:strCache>
            </c:strRef>
          </c:cat>
          <c:val>
            <c:numRef>
              <c:f>List1!$B$7:$P$7</c:f>
              <c:numCache>
                <c:formatCode>General</c:formatCode>
                <c:ptCount val="15"/>
                <c:pt idx="0">
                  <c:v>545.06733510014317</c:v>
                </c:pt>
                <c:pt idx="1">
                  <c:v>712.50999594725965</c:v>
                </c:pt>
                <c:pt idx="2">
                  <c:v>673.02295815554953</c:v>
                </c:pt>
                <c:pt idx="3">
                  <c:v>475.47529721658094</c:v>
                </c:pt>
                <c:pt idx="4">
                  <c:v>443.13023018140603</c:v>
                </c:pt>
                <c:pt idx="5">
                  <c:v>456.43004186582016</c:v>
                </c:pt>
                <c:pt idx="6">
                  <c:v>483.42331716611102</c:v>
                </c:pt>
                <c:pt idx="7">
                  <c:v>546.3888808700533</c:v>
                </c:pt>
                <c:pt idx="8">
                  <c:v>701.42213321106374</c:v>
                </c:pt>
                <c:pt idx="9">
                  <c:v>806.59280756681494</c:v>
                </c:pt>
                <c:pt idx="10">
                  <c:v>762.97242449474777</c:v>
                </c:pt>
                <c:pt idx="11">
                  <c:v>685.02934206515806</c:v>
                </c:pt>
                <c:pt idx="12">
                  <c:v>526.71565696195933</c:v>
                </c:pt>
                <c:pt idx="13">
                  <c:v>413.39076402591206</c:v>
                </c:pt>
                <c:pt idx="14">
                  <c:v>263.50310478901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17-4C2D-B900-AE90B97A7EC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17-4C2D-B900-AE90B97A7EC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17-4C2D-B900-AE90B97A7ECF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0367-4125-AC25-40BEF22F85D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2364.3879130127875</c:v>
                </c:pt>
                <c:pt idx="1">
                  <c:v>2317.6848918204641</c:v>
                </c:pt>
                <c:pt idx="2">
                  <c:v>2139.0490657975115</c:v>
                </c:pt>
                <c:pt idx="3">
                  <c:v>1882.6207487209538</c:v>
                </c:pt>
                <c:pt idx="4">
                  <c:v>1866.5982987092998</c:v>
                </c:pt>
                <c:pt idx="5">
                  <c:v>1824.2186174548297</c:v>
                </c:pt>
                <c:pt idx="6">
                  <c:v>1440.621707380948</c:v>
                </c:pt>
                <c:pt idx="7">
                  <c:v>1436.3309186824206</c:v>
                </c:pt>
                <c:pt idx="8">
                  <c:v>1167.2408680247731</c:v>
                </c:pt>
                <c:pt idx="9">
                  <c:v>1024.4222052384712</c:v>
                </c:pt>
                <c:pt idx="10">
                  <c:v>997.76112908712605</c:v>
                </c:pt>
                <c:pt idx="11">
                  <c:v>965.84433900273234</c:v>
                </c:pt>
                <c:pt idx="12">
                  <c:v>891.18304361624234</c:v>
                </c:pt>
                <c:pt idx="13">
                  <c:v>695.3849851087021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717-4C2D-B900-AE90B97A7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30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D5-4E11-A7B8-F86EB804C93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D5-4E11-A7B8-F86EB804C93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6D5-4E11-A7B8-F86EB804C93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1424.6611073417555</c:v>
                </c:pt>
                <c:pt idx="1">
                  <c:v>1396.7708733015415</c:v>
                </c:pt>
                <c:pt idx="2">
                  <c:v>1338.7725664315176</c:v>
                </c:pt>
                <c:pt idx="3">
                  <c:v>1285.3431089308194</c:v>
                </c:pt>
                <c:pt idx="4">
                  <c:v>1239.8015797669696</c:v>
                </c:pt>
                <c:pt idx="5">
                  <c:v>1177.8828707781088</c:v>
                </c:pt>
                <c:pt idx="6">
                  <c:v>1159.8595691804869</c:v>
                </c:pt>
                <c:pt idx="7">
                  <c:v>991.11571719025653</c:v>
                </c:pt>
                <c:pt idx="8">
                  <c:v>942.45836161239754</c:v>
                </c:pt>
                <c:pt idx="9">
                  <c:v>905.26005402573344</c:v>
                </c:pt>
                <c:pt idx="10">
                  <c:v>896.11161411094508</c:v>
                </c:pt>
                <c:pt idx="11">
                  <c:v>818.46349271742588</c:v>
                </c:pt>
                <c:pt idx="12">
                  <c:v>764.98195403944919</c:v>
                </c:pt>
                <c:pt idx="13">
                  <c:v>496.8370754486466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6D5-4E11-A7B8-F86EB804C9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30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F6-4FDB-992C-C3301253469F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F6-4FDB-992C-C3301253469F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F6-4FDB-992C-C3301253469F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79D9-47D6-8A8A-FE81D4B3A35D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9D9-47D6-8A8A-FE81D4B3A35D}"/>
              </c:ext>
            </c:extLst>
          </c:dPt>
          <c:dPt>
            <c:idx val="5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79D9-47D6-8A8A-FE81D4B3A35D}"/>
              </c:ext>
            </c:extLst>
          </c:dPt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1350-49EF-BDD6-68ACED723728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1350-49EF-BDD6-68ACED723728}"/>
              </c:ext>
            </c:extLst>
          </c:dPt>
          <c:dPt>
            <c:idx val="8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1350-49EF-BDD6-68ACED723728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82B3-487A-A200-D8FF409C8DBD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5E-4AF0-8255-A4C2A217585D}"/>
              </c:ext>
            </c:extLst>
          </c:dPt>
          <c:dPt>
            <c:idx val="1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F5E-4AF0-8255-A4C2A217585D}"/>
              </c:ext>
            </c:extLst>
          </c:dPt>
          <c:dPt>
            <c:idx val="1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5E-4AF0-8255-A4C2A217585D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5F5E-4AF0-8255-A4C2A217585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General</c:formatCode>
                <c:ptCount val="14"/>
                <c:pt idx="0">
                  <c:v>-88.746985263194006</c:v>
                </c:pt>
                <c:pt idx="1">
                  <c:v>-105.204571987077</c:v>
                </c:pt>
                <c:pt idx="2">
                  <c:v>-151.76516547983806</c:v>
                </c:pt>
                <c:pt idx="3">
                  <c:v>-206.16599289573799</c:v>
                </c:pt>
                <c:pt idx="4">
                  <c:v>-212.58585439966294</c:v>
                </c:pt>
                <c:pt idx="5">
                  <c:v>-215.71766002534298</c:v>
                </c:pt>
                <c:pt idx="6">
                  <c:v>-216.49549150215501</c:v>
                </c:pt>
                <c:pt idx="7">
                  <c:v>-224.59215437816692</c:v>
                </c:pt>
                <c:pt idx="8">
                  <c:v>-297.70673972854297</c:v>
                </c:pt>
                <c:pt idx="9">
                  <c:v>-322.76711776083698</c:v>
                </c:pt>
                <c:pt idx="10">
                  <c:v>-328.63080365103599</c:v>
                </c:pt>
                <c:pt idx="11">
                  <c:v>-337.53413768101302</c:v>
                </c:pt>
                <c:pt idx="12">
                  <c:v>-345.32531837531894</c:v>
                </c:pt>
                <c:pt idx="13">
                  <c:v>-359.93599134530086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2-0CF6-4FDB-992C-C330125346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1200"/>
          <c:min val="-12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17-4C2D-B900-AE90B97A7ECF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17-4C2D-B900-AE90B97A7ECF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17-4C2D-B900-AE90B97A7ECF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D3B-4A42-B391-6BFF08FA8D8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General</c:formatCode>
                <c:ptCount val="14"/>
                <c:pt idx="0">
                  <c:v>851.31522050270098</c:v>
                </c:pt>
                <c:pt idx="1">
                  <c:v>835.29607209008702</c:v>
                </c:pt>
                <c:pt idx="2">
                  <c:v>828.73524213780297</c:v>
                </c:pt>
                <c:pt idx="3">
                  <c:v>782.53249710137698</c:v>
                </c:pt>
                <c:pt idx="4">
                  <c:v>728.34324656040997</c:v>
                </c:pt>
                <c:pt idx="5">
                  <c:v>711.75820956072903</c:v>
                </c:pt>
                <c:pt idx="6">
                  <c:v>687.64190723321406</c:v>
                </c:pt>
                <c:pt idx="7">
                  <c:v>668.52399863984897</c:v>
                </c:pt>
                <c:pt idx="8">
                  <c:v>644.04405021411196</c:v>
                </c:pt>
                <c:pt idx="9">
                  <c:v>623.57958001290206</c:v>
                </c:pt>
                <c:pt idx="10">
                  <c:v>532.294511433313</c:v>
                </c:pt>
                <c:pt idx="11">
                  <c:v>519.98184669823604</c:v>
                </c:pt>
                <c:pt idx="12">
                  <c:v>355.11839999129802</c:v>
                </c:pt>
                <c:pt idx="13">
                  <c:v>232.4681671327340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717-4C2D-B900-AE90B97A7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03</c:f>
              <c:numCache>
                <c:formatCode>m/d/yyyy</c:formatCode>
                <c:ptCount val="102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</c:numCache>
            </c:numRef>
          </c:cat>
          <c:val>
            <c:numRef>
              <c:f>Sheet1!$B$2:$B$103</c:f>
              <c:numCache>
                <c:formatCode>General</c:formatCode>
                <c:ptCount val="102"/>
                <c:pt idx="0">
                  <c:v>288</c:v>
                </c:pt>
                <c:pt idx="1">
                  <c:v>384</c:v>
                </c:pt>
                <c:pt idx="2">
                  <c:v>348</c:v>
                </c:pt>
                <c:pt idx="3">
                  <c:v>743</c:v>
                </c:pt>
                <c:pt idx="4">
                  <c:v>1259</c:v>
                </c:pt>
                <c:pt idx="5">
                  <c:v>932</c:v>
                </c:pt>
                <c:pt idx="6">
                  <c:v>1028</c:v>
                </c:pt>
                <c:pt idx="7">
                  <c:v>824</c:v>
                </c:pt>
                <c:pt idx="8">
                  <c:v>453</c:v>
                </c:pt>
                <c:pt idx="9">
                  <c:v>329</c:v>
                </c:pt>
                <c:pt idx="10">
                  <c:v>496</c:v>
                </c:pt>
                <c:pt idx="11">
                  <c:v>731</c:v>
                </c:pt>
                <c:pt idx="12">
                  <c:v>593</c:v>
                </c:pt>
                <c:pt idx="13">
                  <c:v>390</c:v>
                </c:pt>
                <c:pt idx="14">
                  <c:v>484</c:v>
                </c:pt>
                <c:pt idx="15">
                  <c:v>313</c:v>
                </c:pt>
                <c:pt idx="16">
                  <c:v>130</c:v>
                </c:pt>
                <c:pt idx="17">
                  <c:v>280</c:v>
                </c:pt>
                <c:pt idx="18">
                  <c:v>502</c:v>
                </c:pt>
                <c:pt idx="19">
                  <c:v>461</c:v>
                </c:pt>
                <c:pt idx="20">
                  <c:v>220</c:v>
                </c:pt>
                <c:pt idx="21">
                  <c:v>443</c:v>
                </c:pt>
                <c:pt idx="22">
                  <c:v>226</c:v>
                </c:pt>
                <c:pt idx="23">
                  <c:v>130</c:v>
                </c:pt>
                <c:pt idx="24">
                  <c:v>299</c:v>
                </c:pt>
                <c:pt idx="25">
                  <c:v>390</c:v>
                </c:pt>
                <c:pt idx="26">
                  <c:v>331</c:v>
                </c:pt>
                <c:pt idx="27">
                  <c:v>216</c:v>
                </c:pt>
                <c:pt idx="28">
                  <c:v>265</c:v>
                </c:pt>
                <c:pt idx="29">
                  <c:v>207</c:v>
                </c:pt>
                <c:pt idx="30">
                  <c:v>86</c:v>
                </c:pt>
                <c:pt idx="31">
                  <c:v>241</c:v>
                </c:pt>
                <c:pt idx="32">
                  <c:v>274</c:v>
                </c:pt>
                <c:pt idx="33">
                  <c:v>250</c:v>
                </c:pt>
                <c:pt idx="34">
                  <c:v>295</c:v>
                </c:pt>
                <c:pt idx="35">
                  <c:v>230</c:v>
                </c:pt>
                <c:pt idx="36">
                  <c:v>177</c:v>
                </c:pt>
                <c:pt idx="37">
                  <c:v>61</c:v>
                </c:pt>
                <c:pt idx="38">
                  <c:v>140</c:v>
                </c:pt>
                <c:pt idx="39">
                  <c:v>274</c:v>
                </c:pt>
                <c:pt idx="40">
                  <c:v>246</c:v>
                </c:pt>
                <c:pt idx="41">
                  <c:v>187</c:v>
                </c:pt>
                <c:pt idx="42">
                  <c:v>227</c:v>
                </c:pt>
                <c:pt idx="43">
                  <c:v>133</c:v>
                </c:pt>
                <c:pt idx="44">
                  <c:v>72</c:v>
                </c:pt>
                <c:pt idx="45">
                  <c:v>215</c:v>
                </c:pt>
                <c:pt idx="46">
                  <c:v>300</c:v>
                </c:pt>
                <c:pt idx="47">
                  <c:v>239</c:v>
                </c:pt>
                <c:pt idx="48">
                  <c:v>314</c:v>
                </c:pt>
                <c:pt idx="49">
                  <c:v>270</c:v>
                </c:pt>
                <c:pt idx="50">
                  <c:v>223</c:v>
                </c:pt>
                <c:pt idx="51">
                  <c:v>126</c:v>
                </c:pt>
                <c:pt idx="52">
                  <c:v>249</c:v>
                </c:pt>
                <c:pt idx="53">
                  <c:v>428</c:v>
                </c:pt>
                <c:pt idx="54">
                  <c:v>403</c:v>
                </c:pt>
                <c:pt idx="55">
                  <c:v>374</c:v>
                </c:pt>
                <c:pt idx="56">
                  <c:v>370</c:v>
                </c:pt>
                <c:pt idx="57">
                  <c:v>328</c:v>
                </c:pt>
                <c:pt idx="58">
                  <c:v>106</c:v>
                </c:pt>
                <c:pt idx="59">
                  <c:v>322</c:v>
                </c:pt>
                <c:pt idx="60">
                  <c:v>463</c:v>
                </c:pt>
                <c:pt idx="61">
                  <c:v>473</c:v>
                </c:pt>
                <c:pt idx="62">
                  <c:v>380</c:v>
                </c:pt>
                <c:pt idx="63">
                  <c:v>308</c:v>
                </c:pt>
                <c:pt idx="64">
                  <c:v>408</c:v>
                </c:pt>
                <c:pt idx="65">
                  <c:v>166</c:v>
                </c:pt>
                <c:pt idx="66">
                  <c:v>301</c:v>
                </c:pt>
                <c:pt idx="67">
                  <c:v>453</c:v>
                </c:pt>
                <c:pt idx="68">
                  <c:v>498</c:v>
                </c:pt>
                <c:pt idx="69">
                  <c:v>361</c:v>
                </c:pt>
                <c:pt idx="70">
                  <c:v>548</c:v>
                </c:pt>
                <c:pt idx="71">
                  <c:v>380</c:v>
                </c:pt>
                <c:pt idx="72">
                  <c:v>105</c:v>
                </c:pt>
                <c:pt idx="73">
                  <c:v>308</c:v>
                </c:pt>
                <c:pt idx="74">
                  <c:v>544</c:v>
                </c:pt>
                <c:pt idx="75">
                  <c:v>466</c:v>
                </c:pt>
                <c:pt idx="76">
                  <c:v>393</c:v>
                </c:pt>
                <c:pt idx="77">
                  <c:v>331</c:v>
                </c:pt>
                <c:pt idx="78">
                  <c:v>279</c:v>
                </c:pt>
                <c:pt idx="79">
                  <c:v>122</c:v>
                </c:pt>
                <c:pt idx="80">
                  <c:v>236</c:v>
                </c:pt>
                <c:pt idx="81">
                  <c:v>510</c:v>
                </c:pt>
                <c:pt idx="82">
                  <c:v>428</c:v>
                </c:pt>
                <c:pt idx="83">
                  <c:v>371</c:v>
                </c:pt>
                <c:pt idx="84">
                  <c:v>341</c:v>
                </c:pt>
                <c:pt idx="85">
                  <c:v>299</c:v>
                </c:pt>
                <c:pt idx="86">
                  <c:v>138</c:v>
                </c:pt>
                <c:pt idx="87">
                  <c:v>267</c:v>
                </c:pt>
                <c:pt idx="88">
                  <c:v>543</c:v>
                </c:pt>
                <c:pt idx="89">
                  <c:v>393</c:v>
                </c:pt>
                <c:pt idx="90">
                  <c:v>501</c:v>
                </c:pt>
                <c:pt idx="91">
                  <c:v>257</c:v>
                </c:pt>
                <c:pt idx="92">
                  <c:v>176</c:v>
                </c:pt>
                <c:pt idx="93">
                  <c:v>151</c:v>
                </c:pt>
                <c:pt idx="94">
                  <c:v>103</c:v>
                </c:pt>
                <c:pt idx="95">
                  <c:v>178</c:v>
                </c:pt>
                <c:pt idx="96">
                  <c:v>501</c:v>
                </c:pt>
                <c:pt idx="97">
                  <c:v>398</c:v>
                </c:pt>
                <c:pt idx="98">
                  <c:v>303</c:v>
                </c:pt>
                <c:pt idx="99">
                  <c:v>235</c:v>
                </c:pt>
                <c:pt idx="100">
                  <c:v>86</c:v>
                </c:pt>
                <c:pt idx="101">
                  <c:v>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55</c:v>
                </c:pt>
                <c:pt idx="1">
                  <c:v>1085</c:v>
                </c:pt>
                <c:pt idx="2">
                  <c:v>1163</c:v>
                </c:pt>
                <c:pt idx="3">
                  <c:v>2413</c:v>
                </c:pt>
                <c:pt idx="4">
                  <c:v>3136</c:v>
                </c:pt>
                <c:pt idx="5">
                  <c:v>3163</c:v>
                </c:pt>
                <c:pt idx="6">
                  <c:v>2944</c:v>
                </c:pt>
                <c:pt idx="7">
                  <c:v>2665</c:v>
                </c:pt>
                <c:pt idx="8">
                  <c:v>1664</c:v>
                </c:pt>
                <c:pt idx="9">
                  <c:v>813</c:v>
                </c:pt>
                <c:pt idx="10">
                  <c:v>1860</c:v>
                </c:pt>
                <c:pt idx="11">
                  <c:v>2027</c:v>
                </c:pt>
                <c:pt idx="12">
                  <c:v>2008</c:v>
                </c:pt>
                <c:pt idx="13">
                  <c:v>1496</c:v>
                </c:pt>
                <c:pt idx="14">
                  <c:v>1772</c:v>
                </c:pt>
                <c:pt idx="15">
                  <c:v>921</c:v>
                </c:pt>
                <c:pt idx="16">
                  <c:v>507</c:v>
                </c:pt>
                <c:pt idx="17">
                  <c:v>1340</c:v>
                </c:pt>
                <c:pt idx="18">
                  <c:v>1594</c:v>
                </c:pt>
                <c:pt idx="19">
                  <c:v>1487</c:v>
                </c:pt>
                <c:pt idx="20">
                  <c:v>1326</c:v>
                </c:pt>
                <c:pt idx="21">
                  <c:v>1478</c:v>
                </c:pt>
                <c:pt idx="22">
                  <c:v>723</c:v>
                </c:pt>
                <c:pt idx="23">
                  <c:v>411</c:v>
                </c:pt>
                <c:pt idx="24">
                  <c:v>1239</c:v>
                </c:pt>
                <c:pt idx="25">
                  <c:v>1411</c:v>
                </c:pt>
                <c:pt idx="26">
                  <c:v>1444</c:v>
                </c:pt>
                <c:pt idx="27">
                  <c:v>1327</c:v>
                </c:pt>
                <c:pt idx="28">
                  <c:v>1333</c:v>
                </c:pt>
                <c:pt idx="29">
                  <c:v>665</c:v>
                </c:pt>
                <c:pt idx="30">
                  <c:v>449</c:v>
                </c:pt>
                <c:pt idx="31">
                  <c:v>1202</c:v>
                </c:pt>
                <c:pt idx="32">
                  <c:v>1438</c:v>
                </c:pt>
                <c:pt idx="33">
                  <c:v>1432</c:v>
                </c:pt>
                <c:pt idx="34">
                  <c:v>1328</c:v>
                </c:pt>
                <c:pt idx="35">
                  <c:v>1412</c:v>
                </c:pt>
                <c:pt idx="36">
                  <c:v>771</c:v>
                </c:pt>
                <c:pt idx="37">
                  <c:v>448</c:v>
                </c:pt>
                <c:pt idx="38">
                  <c:v>1122</c:v>
                </c:pt>
                <c:pt idx="39">
                  <c:v>1466</c:v>
                </c:pt>
                <c:pt idx="40">
                  <c:v>1383</c:v>
                </c:pt>
                <c:pt idx="41">
                  <c:v>1387</c:v>
                </c:pt>
                <c:pt idx="42">
                  <c:v>1328</c:v>
                </c:pt>
                <c:pt idx="43">
                  <c:v>728</c:v>
                </c:pt>
                <c:pt idx="44">
                  <c:v>457</c:v>
                </c:pt>
                <c:pt idx="45">
                  <c:v>1302</c:v>
                </c:pt>
                <c:pt idx="46">
                  <c:v>1761</c:v>
                </c:pt>
                <c:pt idx="47">
                  <c:v>1459</c:v>
                </c:pt>
                <c:pt idx="48">
                  <c:v>1600</c:v>
                </c:pt>
                <c:pt idx="49">
                  <c:v>1717</c:v>
                </c:pt>
                <c:pt idx="50">
                  <c:v>945</c:v>
                </c:pt>
                <c:pt idx="51">
                  <c:v>581</c:v>
                </c:pt>
                <c:pt idx="52">
                  <c:v>1633</c:v>
                </c:pt>
                <c:pt idx="53">
                  <c:v>2109</c:v>
                </c:pt>
                <c:pt idx="54">
                  <c:v>1927</c:v>
                </c:pt>
                <c:pt idx="55">
                  <c:v>2007</c:v>
                </c:pt>
                <c:pt idx="56">
                  <c:v>2094</c:v>
                </c:pt>
                <c:pt idx="57">
                  <c:v>1051</c:v>
                </c:pt>
                <c:pt idx="58">
                  <c:v>657</c:v>
                </c:pt>
                <c:pt idx="59">
                  <c:v>1851</c:v>
                </c:pt>
                <c:pt idx="60">
                  <c:v>2400</c:v>
                </c:pt>
                <c:pt idx="61">
                  <c:v>2168</c:v>
                </c:pt>
                <c:pt idx="62">
                  <c:v>2054</c:v>
                </c:pt>
                <c:pt idx="63">
                  <c:v>1878</c:v>
                </c:pt>
                <c:pt idx="64">
                  <c:v>1311</c:v>
                </c:pt>
                <c:pt idx="65">
                  <c:v>645</c:v>
                </c:pt>
                <c:pt idx="66">
                  <c:v>1544</c:v>
                </c:pt>
                <c:pt idx="67">
                  <c:v>1984</c:v>
                </c:pt>
                <c:pt idx="68">
                  <c:v>2017</c:v>
                </c:pt>
                <c:pt idx="69">
                  <c:v>1628</c:v>
                </c:pt>
                <c:pt idx="70">
                  <c:v>2248</c:v>
                </c:pt>
                <c:pt idx="71">
                  <c:v>980</c:v>
                </c:pt>
                <c:pt idx="72">
                  <c:v>542</c:v>
                </c:pt>
                <c:pt idx="73">
                  <c:v>1625</c:v>
                </c:pt>
                <c:pt idx="74">
                  <c:v>2052</c:v>
                </c:pt>
                <c:pt idx="75">
                  <c:v>1788</c:v>
                </c:pt>
                <c:pt idx="76">
                  <c:v>1586</c:v>
                </c:pt>
                <c:pt idx="77">
                  <c:v>1430</c:v>
                </c:pt>
                <c:pt idx="78">
                  <c:v>843</c:v>
                </c:pt>
                <c:pt idx="79">
                  <c:v>440</c:v>
                </c:pt>
                <c:pt idx="80">
                  <c:v>1212</c:v>
                </c:pt>
                <c:pt idx="81">
                  <c:v>1623</c:v>
                </c:pt>
                <c:pt idx="82">
                  <c:v>1319</c:v>
                </c:pt>
                <c:pt idx="83">
                  <c:v>1289</c:v>
                </c:pt>
                <c:pt idx="84">
                  <c:v>1176</c:v>
                </c:pt>
                <c:pt idx="85">
                  <c:v>642</c:v>
                </c:pt>
                <c:pt idx="86">
                  <c:v>326</c:v>
                </c:pt>
                <c:pt idx="87">
                  <c:v>1117</c:v>
                </c:pt>
                <c:pt idx="88">
                  <c:v>1294</c:v>
                </c:pt>
                <c:pt idx="89">
                  <c:v>1198</c:v>
                </c:pt>
                <c:pt idx="90">
                  <c:v>995</c:v>
                </c:pt>
                <c:pt idx="91">
                  <c:v>550</c:v>
                </c:pt>
                <c:pt idx="92">
                  <c:v>380</c:v>
                </c:pt>
                <c:pt idx="93">
                  <c:v>329</c:v>
                </c:pt>
                <c:pt idx="94">
                  <c:v>291</c:v>
                </c:pt>
                <c:pt idx="95">
                  <c:v>816</c:v>
                </c:pt>
                <c:pt idx="96">
                  <c:v>981</c:v>
                </c:pt>
                <c:pt idx="97">
                  <c:v>780</c:v>
                </c:pt>
                <c:pt idx="98">
                  <c:v>718</c:v>
                </c:pt>
                <c:pt idx="99">
                  <c:v>359</c:v>
                </c:pt>
                <c:pt idx="100">
                  <c:v>199</c:v>
                </c:pt>
                <c:pt idx="101">
                  <c:v>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60-4A3A-91E4-DB37DB986E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1</cdr:x>
      <cdr:y>0.07386</cdr:y>
    </cdr:from>
    <cdr:to>
      <cdr:x>0.52762</cdr:x>
      <cdr:y>0.53331</cdr:y>
    </cdr:to>
    <cdr:sp macro="" textlink="">
      <cdr:nvSpPr>
        <cdr:cNvPr id="7" name="TextovéPole 6">
          <a:extLst xmlns:a="http://schemas.openxmlformats.org/drawingml/2006/main">
            <a:ext uri="{FF2B5EF4-FFF2-40B4-BE49-F238E27FC236}">
              <a16:creationId xmlns:a16="http://schemas.microsoft.com/office/drawing/2014/main" id="{25102C19-C8AD-4006-A336-4A700ABDDE88}"/>
            </a:ext>
          </a:extLst>
        </cdr:cNvPr>
        <cdr:cNvSpPr txBox="1"/>
      </cdr:nvSpPr>
      <cdr:spPr>
        <a:xfrm xmlns:a="http://schemas.openxmlformats.org/drawingml/2006/main">
          <a:off x="1478256" y="431342"/>
          <a:ext cx="4475747" cy="26830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cs-CZ" sz="1600" b="1" dirty="0">
              <a:solidFill>
                <a:srgbClr val="D31145"/>
              </a:solidFill>
            </a:rPr>
            <a:t>Březen 		1 133 694</a:t>
          </a:r>
        </a:p>
        <a:p xmlns:a="http://schemas.openxmlformats.org/drawingml/2006/main">
          <a:r>
            <a:rPr lang="cs-CZ" sz="1600" dirty="0" err="1"/>
            <a:t>Pfizer</a:t>
          </a:r>
          <a:r>
            <a:rPr lang="cs-CZ" sz="1600" dirty="0"/>
            <a:t> 		707 850</a:t>
          </a:r>
        </a:p>
        <a:p xmlns:a="http://schemas.openxmlformats.org/drawingml/2006/main">
          <a:r>
            <a:rPr lang="cs-CZ" sz="1600" dirty="0"/>
            <a:t>Moderna		147 600</a:t>
          </a:r>
        </a:p>
        <a:p xmlns:a="http://schemas.openxmlformats.org/drawingml/2006/main">
          <a:r>
            <a:rPr lang="cs-CZ" sz="1600" dirty="0"/>
            <a:t>AstraZeneca	278 244</a:t>
          </a:r>
        </a:p>
        <a:p xmlns:a="http://schemas.openxmlformats.org/drawingml/2006/main">
          <a:endParaRPr lang="cs-CZ" sz="1600" dirty="0"/>
        </a:p>
        <a:p xmlns:a="http://schemas.openxmlformats.org/drawingml/2006/main">
          <a:r>
            <a:rPr lang="cs-CZ" sz="1600" b="1" dirty="0">
              <a:solidFill>
                <a:srgbClr val="D62051"/>
              </a:solidFill>
            </a:rPr>
            <a:t>Duben	</a:t>
          </a:r>
          <a:r>
            <a:rPr lang="cs-CZ" sz="1600" dirty="0">
              <a:solidFill>
                <a:srgbClr val="D62051"/>
              </a:solidFill>
            </a:rPr>
            <a:t>	</a:t>
          </a:r>
          <a:r>
            <a:rPr lang="cs-CZ" sz="1600" b="1" dirty="0">
              <a:solidFill>
                <a:srgbClr val="D62051"/>
              </a:solidFill>
            </a:rPr>
            <a:t>2 120 797</a:t>
          </a:r>
        </a:p>
        <a:p xmlns:a="http://schemas.openxmlformats.org/drawingml/2006/main">
          <a:r>
            <a:rPr lang="cs-CZ" sz="1600" dirty="0" err="1"/>
            <a:t>Pfizer</a:t>
          </a:r>
          <a:r>
            <a:rPr lang="cs-CZ" sz="1600" dirty="0"/>
            <a:t>		1 145 430</a:t>
          </a:r>
        </a:p>
        <a:p xmlns:a="http://schemas.openxmlformats.org/drawingml/2006/main">
          <a:r>
            <a:rPr lang="cs-CZ" sz="1600" dirty="0"/>
            <a:t>Moderna		276 600</a:t>
          </a:r>
        </a:p>
        <a:p xmlns:a="http://schemas.openxmlformats.org/drawingml/2006/main">
          <a:r>
            <a:rPr lang="cs-CZ" sz="1600" dirty="0"/>
            <a:t>AstraZeneca	400 000 ?</a:t>
          </a:r>
        </a:p>
        <a:p xmlns:a="http://schemas.openxmlformats.org/drawingml/2006/main">
          <a:endParaRPr lang="cs-CZ" dirty="0"/>
        </a:p>
        <a:p xmlns:a="http://schemas.openxmlformats.org/drawingml/2006/main">
          <a:endParaRPr lang="cs-CZ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18359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47404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43135-FA3B-4439-9778-AB2E228C4C5C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65260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40729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38381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15229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76535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17302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42570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4135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9275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73077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10037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27108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16044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9867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4649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6083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7379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46911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44503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6952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59341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12425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7351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svg"/><Relationship Id="rId5" Type="http://schemas.openxmlformats.org/officeDocument/2006/relationships/image" Target="../media/image11.png"/><Relationship Id="rId4" Type="http://schemas.openxmlformats.org/officeDocument/2006/relationships/image" Target="../media/image8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.emf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0.svg"/><Relationship Id="rId5" Type="http://schemas.openxmlformats.org/officeDocument/2006/relationships/image" Target="../media/image19.png"/><Relationship Id="rId4" Type="http://schemas.openxmlformats.org/officeDocument/2006/relationships/image" Target="../media/image14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0.svg"/><Relationship Id="rId5" Type="http://schemas.openxmlformats.org/officeDocument/2006/relationships/image" Target="../media/image19.png"/><Relationship Id="rId4" Type="http://schemas.openxmlformats.org/officeDocument/2006/relationships/image" Target="../media/image14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0.svg"/><Relationship Id="rId5" Type="http://schemas.openxmlformats.org/officeDocument/2006/relationships/image" Target="../media/image19.png"/><Relationship Id="rId4" Type="http://schemas.openxmlformats.org/officeDocument/2006/relationships/image" Target="../media/image20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00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1.svg"/><Relationship Id="rId5" Type="http://schemas.openxmlformats.org/officeDocument/2006/relationships/image" Target="../media/image22.png"/><Relationship Id="rId4" Type="http://schemas.openxmlformats.org/officeDocument/2006/relationships/image" Target="../media/image3.sv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3.svg"/><Relationship Id="rId5" Type="http://schemas.openxmlformats.org/officeDocument/2006/relationships/image" Target="../media/image25.png"/><Relationship Id="rId4" Type="http://schemas.openxmlformats.org/officeDocument/2006/relationships/image" Target="../media/image51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3.svg"/><Relationship Id="rId5" Type="http://schemas.openxmlformats.org/officeDocument/2006/relationships/image" Target="../media/image25.png"/><Relationship Id="rId4" Type="http://schemas.openxmlformats.org/officeDocument/2006/relationships/image" Target="../media/image51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1.svg"/><Relationship Id="rId5" Type="http://schemas.openxmlformats.org/officeDocument/2006/relationships/image" Target="../media/image22.png"/><Relationship Id="rId4" Type="http://schemas.openxmlformats.org/officeDocument/2006/relationships/image" Target="../media/image3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1.svg"/><Relationship Id="rId5" Type="http://schemas.openxmlformats.org/officeDocument/2006/relationships/image" Target="../media/image22.png"/><Relationship Id="rId4" Type="http://schemas.openxmlformats.org/officeDocument/2006/relationships/image" Target="../media/image3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svg"/><Relationship Id="rId5" Type="http://schemas.openxmlformats.org/officeDocument/2006/relationships/image" Target="../media/image11.png"/><Relationship Id="rId4" Type="http://schemas.openxmlformats.org/officeDocument/2006/relationships/image" Target="../media/image8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6.png"/><Relationship Id="rId5" Type="http://schemas.openxmlformats.org/officeDocument/2006/relationships/image" Target="../media/image5.svg"/><Relationship Id="rId4" Type="http://schemas.openxmlformats.org/officeDocument/2006/relationships/image" Target="../media/image13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6.png"/><Relationship Id="rId5" Type="http://schemas.openxmlformats.org/officeDocument/2006/relationships/image" Target="../media/image5.svg"/><Relationship Id="rId4" Type="http://schemas.openxmlformats.org/officeDocument/2006/relationships/image" Target="../media/image13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6.png"/><Relationship Id="rId5" Type="http://schemas.openxmlformats.org/officeDocument/2006/relationships/image" Target="../media/image5.svg"/><Relationship Id="rId4" Type="http://schemas.openxmlformats.org/officeDocument/2006/relationships/image" Target="../media/image13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8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6.png"/><Relationship Id="rId5" Type="http://schemas.openxmlformats.org/officeDocument/2006/relationships/image" Target="../media/image5.svg"/><Relationship Id="rId4" Type="http://schemas.openxmlformats.org/officeDocument/2006/relationships/image" Target="../media/image1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230132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206432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25432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60147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49993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24051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28117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5126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15721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53354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34734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8467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2859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83611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7171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3897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39872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27766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176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9323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47270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9821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023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17677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33627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6925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711699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01730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7567905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0111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27404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3616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423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8922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78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761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712974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12100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28570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03391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8584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7018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270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54735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36248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81043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683637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08921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437673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4372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55388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2783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03246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8368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9025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114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908330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8469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0943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E1F266-4867-4FDD-9FB2-B0505DA457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CA6EB5-385D-4913-9C35-A9990241EA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281972-08CD-4128-8360-932CCBA52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2C53F3-0FBF-4ADE-B28F-9C371CFFC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288A8-532D-433C-AB35-C4249FB9F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62149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01C893-D8EF-48B3-A54C-6A7447995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8B657-5E57-41D3-BDA9-88B54012C8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C8FD93-169F-4F7F-BDE4-A6ADABAC7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AAB52-C9C6-4960-B8B5-DC9236D83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5933F7-BDE2-4444-8AE9-BFAAD2AFD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074303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AC12-BD61-4F3E-8023-E05FB257B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2D35DD-D0C7-4C01-967D-BD220F77B4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758036-2BFC-405E-88FD-2933F50E28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8AD81-79A3-4AC8-9C5D-0A5C82299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E2E077-0477-4BF9-940F-5C814E0C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07554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63F3F-A832-4EBB-A18A-4BF2220B5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AD5AEF-A690-4DAF-AAAE-2160529A03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E8D50D-4388-40D9-A98D-B56DF0A93B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7FB85A-C4CC-4A71-B4DB-31F26F2AC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4226C5-F9AF-44E6-82CB-226CD4338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63BEED-43CD-4126-9836-79137D3F7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27839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73D05-0394-4362-9B27-7F45E5BAC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9A8203-6F75-425B-B046-3954B0113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D38D7B-FFDB-463F-A1A7-BD7278285A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91EDD3-8465-4FB9-86A0-4BEE4062EE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F93CF3-8AB8-4F43-B55A-6E5A40CE0D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53A86E-3A45-4D8E-8B9A-7261095A2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9215CF-DB3C-45F7-8FD6-4050CAB84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D19C45-F9D3-4ABB-A1A6-767C03E1D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426212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A7B30-3ABC-4005-AE7C-9F21A4609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348671-1142-4FDA-B883-CD07CCF6E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FCEE53-FE71-4F78-8442-1D1B56F7E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71F8F5-FEB2-476F-883A-8AF87EEDA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2805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C2A063-3969-40F4-A503-C11260889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0FA65C-4559-4D11-9042-6FDB985CB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DAF814-EEC3-4275-AE10-319D7A020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339336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87B69A-0970-4DF3-9DBF-906ADB57E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EB1CB3-C5BD-41BF-91B0-E22EC18108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07E656-0CA6-4952-8A94-D2FF99DAD5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C8F93A-D193-44CE-96B5-8AE4094B6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DD049-E38E-4C8F-A439-B76BB15D8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2CE0FC-5719-4713-82C0-E8A021CD4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2441580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76CA7-BD05-4C05-8E4D-1F6ACF19F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C31290-80D7-472F-9A12-CD44557EA8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D6BAE8-F2C4-4EA0-9A5B-B1F1D0EDBD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C1564E-3D3D-492B-BF23-9E288E495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AF70ED-DB3B-4116-99A2-9DA954516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9830E4-CD62-4045-9B26-17575866F2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214715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E1B1D-6996-46E1-B64F-DD15F78A4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BA50F4-EC50-4964-B91D-9D56DF80A0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FE5490-68BB-4474-BF7B-221B22444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2B7E93-1822-4BC7-A3C2-53694C7A2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D01363-CB6F-4D73-9F6E-6653828C2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29136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C67E270-153C-4B0A-B325-C14C21F3F8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4DE5802-454C-45D1-A5A0-A3E962BD58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FCB0C-8372-4901-BABB-4264EA4D9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119E6-592E-4354-B89E-79C8DFF8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3B11C-57D7-4C56-81E3-F53AFF919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082917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7674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93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696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4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4849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92641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2450212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569584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4567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84856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4472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09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1821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684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4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231908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47617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25319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544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1783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6010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728292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4252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98003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96547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9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image" Target="../media/image5.svg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94.xml"/><Relationship Id="rId16" Type="http://schemas.openxmlformats.org/officeDocument/2006/relationships/image" Target="../media/image8.svg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2.sv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4.sv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1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7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9730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8" r:id="rId1"/>
    <p:sldLayoutId id="2147484199" r:id="rId2"/>
    <p:sldLayoutId id="2147484200" r:id="rId3"/>
    <p:sldLayoutId id="2147484201" r:id="rId4"/>
    <p:sldLayoutId id="2147484202" r:id="rId5"/>
    <p:sldLayoutId id="2147484203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336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9831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16554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4105" r:id="rId9"/>
    <p:sldLayoutId id="2147484204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8290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1446B490-50F8-4EEA-84BF-ED4B3F9022BD}"/>
              </a:ext>
            </a:extLst>
          </p:cNvPr>
          <p:cNvGrpSpPr/>
          <p:nvPr userDrawn="1"/>
        </p:nvGrpSpPr>
        <p:grpSpPr>
          <a:xfrm>
            <a:off x="6287878" y="115007"/>
            <a:ext cx="5742276" cy="451023"/>
            <a:chOff x="6353729" y="329946"/>
            <a:chExt cx="5742276" cy="451023"/>
          </a:xfrm>
        </p:grpSpPr>
        <p:grpSp>
          <p:nvGrpSpPr>
            <p:cNvPr id="15" name="Skupina 14">
              <a:extLst>
                <a:ext uri="{FF2B5EF4-FFF2-40B4-BE49-F238E27FC236}">
                  <a16:creationId xmlns:a16="http://schemas.microsoft.com/office/drawing/2014/main" id="{DD56039D-6C4E-4F36-A9AD-1A5DE065253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D076463-9103-4D9E-86F8-FD67243D0BB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15975688-7C12-499C-A870-E04744A86CD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6" name="Obrázek 15" descr="Obsah obrázku kreslení&#10;&#10;Popis byl vytvořen automaticky">
              <a:extLst>
                <a:ext uri="{FF2B5EF4-FFF2-40B4-BE49-F238E27FC236}">
                  <a16:creationId xmlns:a16="http://schemas.microsoft.com/office/drawing/2014/main" id="{70D84849-79F4-4C81-AEB0-8C902D8C7B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6665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2613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1" r:id="rId10"/>
    <p:sldLayoutId id="214748414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75459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57" r:id="rId3"/>
    <p:sldLayoutId id="2147484158" r:id="rId4"/>
    <p:sldLayoutId id="2147484159" r:id="rId5"/>
    <p:sldLayoutId id="2147484160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6AD168-46D9-47A6-8163-7BDD6BF90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0F9CE-EC72-4FE9-8F30-A60011AF0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E678BA-58F7-4E69-9BB6-3E2E879539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22C89D-822C-41A9-A691-08127673038F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E25D1-DEF3-4ACC-90E0-B59D773D24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BC20C9-F806-4294-B8CE-BA39230714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270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2" r:id="rId1"/>
    <p:sldLayoutId id="2147484163" r:id="rId2"/>
    <p:sldLayoutId id="2147484164" r:id="rId3"/>
    <p:sldLayoutId id="2147484165" r:id="rId4"/>
    <p:sldLayoutId id="2147484166" r:id="rId5"/>
    <p:sldLayoutId id="2147484167" r:id="rId6"/>
    <p:sldLayoutId id="2147484168" r:id="rId7"/>
    <p:sldLayoutId id="2147484169" r:id="rId8"/>
    <p:sldLayoutId id="2147484170" r:id="rId9"/>
    <p:sldLayoutId id="2147484171" r:id="rId10"/>
    <p:sldLayoutId id="2147484172" r:id="rId11"/>
    <p:sldLayoutId id="21474841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4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7.xml"/><Relationship Id="rId4" Type="http://schemas.openxmlformats.org/officeDocument/2006/relationships/tags" Target="../tags/tag5.xml"/><Relationship Id="rId9" Type="http://schemas.openxmlformats.org/officeDocument/2006/relationships/chart" Target="../charts/char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34.gi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chart" Target="../charts/chart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13.xml"/><Relationship Id="rId10" Type="http://schemas.openxmlformats.org/officeDocument/2006/relationships/slideLayout" Target="../slideLayouts/slideLayout25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35.jp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chart" Target="../charts/chart10.xml"/><Relationship Id="rId4" Type="http://schemas.openxmlformats.org/officeDocument/2006/relationships/notesSlide" Target="../notesSlides/notesSlide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chart" Target="../charts/chart11.xml"/><Relationship Id="rId4" Type="http://schemas.openxmlformats.org/officeDocument/2006/relationships/notesSlide" Target="../notesSlides/notesSlide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notesSlide" Target="../notesSlides/notesSlide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8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chart" Target="../charts/chart15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slideLayout" Target="../slideLayouts/slideLayout77.xml"/><Relationship Id="rId5" Type="http://schemas.openxmlformats.org/officeDocument/2006/relationships/tags" Target="../tags/tag3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slideLayout" Target="../slideLayouts/slideLayout82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chart" Target="../charts/char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notesSlide" Target="../notesSlides/notesSlide9.xml"/><Relationship Id="rId2" Type="http://schemas.openxmlformats.org/officeDocument/2006/relationships/tags" Target="../tags/tag58.xml"/><Relationship Id="rId16" Type="http://schemas.openxmlformats.org/officeDocument/2006/relationships/slideLayout" Target="../slideLayouts/slideLayout82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6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4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4.xml"/><Relationship Id="rId4" Type="http://schemas.openxmlformats.org/officeDocument/2006/relationships/chart" Target="../charts/chart2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13. </a:t>
            </a:r>
            <a:r>
              <a:rPr lang="cs-CZ" sz="4800" b="1" dirty="0"/>
              <a:t>4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4593865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77585" y="2771954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šak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ůsledku nově přijatých opatření a vlivem důslednějšího dodržování všech opatření byl růst epidemie na Moravě a Slezsku významně slabší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ž o 40%) než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nejvíce zasažených částech Čech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ejší šíření epidemie zasáhlo jednotlivé regiony </a:t>
            </a: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ně. 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dříve a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více byl zasažen západ a sever </a:t>
            </a: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ch, ší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ále postupovalo na východ. 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99349" y="211311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9" y="47469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108877" y="3233618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  <a:endParaRPr kumimoji="0" lang="cs-CZ" sz="3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11675768" y="3233617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  <a:endParaRPr kumimoji="0" lang="cs-CZ" sz="3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194458" y="5324633"/>
            <a:ext cx="115614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novější data potvrzují klesající trend i v období po Velikonocích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 mezi regiony se postupně snižují.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6259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r>
              <a:rPr lang="cs-CZ" dirty="0"/>
              <a:t> – časový vývoj</a:t>
            </a:r>
            <a:endParaRPr lang="cs-CZ" dirty="0">
              <a:latin typeface="+mj-lt"/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27" y="766618"/>
            <a:ext cx="12094673" cy="5919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2447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" y="707159"/>
            <a:ext cx="12184380" cy="590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8827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ovéPole 16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1696840" y="1550430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hodnoty 1.3.</a:t>
            </a: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4707496"/>
              </p:ext>
            </p:extLst>
          </p:nvPr>
        </p:nvGraphicFramePr>
        <p:xfrm>
          <a:off x="1308735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/>
        </p:nvGraphicFramePr>
        <p:xfrm>
          <a:off x="44904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n-lt"/>
              </a:rPr>
              <a:t>14denní incidence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4F86700-D5B2-4E85-A67A-58512B3C1A7E}"/>
              </a:ext>
            </a:extLst>
          </p:cNvPr>
          <p:cNvSpPr txBox="1"/>
          <p:nvPr/>
        </p:nvSpPr>
        <p:spPr>
          <a:xfrm>
            <a:off x="1696840" y="838734"/>
            <a:ext cx="81002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ovnání regionů: změna k datu 1. 3. 2021 a 29.3. 2021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9244966" y="1550430"/>
            <a:ext cx="2646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hodnoty 29.3.</a:t>
            </a:r>
          </a:p>
        </p:txBody>
      </p:sp>
      <p:graphicFrame>
        <p:nvGraphicFramePr>
          <p:cNvPr id="24" name="Graf 23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2050873"/>
              </p:ext>
            </p:extLst>
          </p:nvPr>
        </p:nvGraphicFramePr>
        <p:xfrm>
          <a:off x="8856861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364960"/>
              </p:ext>
            </p:extLst>
          </p:nvPr>
        </p:nvGraphicFramePr>
        <p:xfrm>
          <a:off x="7593030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0" name="Šipka doprava 9"/>
          <p:cNvSpPr/>
          <p:nvPr/>
        </p:nvSpPr>
        <p:spPr>
          <a:xfrm>
            <a:off x="4634521" y="2822687"/>
            <a:ext cx="2487456" cy="2944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TextovéPole 10"/>
          <p:cNvSpPr txBox="1"/>
          <p:nvPr/>
        </p:nvSpPr>
        <p:spPr>
          <a:xfrm>
            <a:off x="4105141" y="3318831"/>
            <a:ext cx="35462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i="1" dirty="0" smtClean="0"/>
              <a:t>V průběhu března došlo k významnému poklesu zátěže</a:t>
            </a:r>
            <a:endParaRPr lang="cs-CZ" sz="2400" b="1" i="1" dirty="0"/>
          </a:p>
        </p:txBody>
      </p:sp>
    </p:spTree>
    <p:extLst>
      <p:ext uri="{BB962C8B-B14F-4D97-AF65-F5344CB8AC3E}">
        <p14:creationId xmlns:p14="http://schemas.microsoft.com/office/powerpoint/2010/main" val="12571992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7A3B84F-6639-4915-AC44-63B8C670155A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5899068" y="2169145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7F82D44D-4D15-4A3E-9F30-7DCB869E7E22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7457998" y="2418051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0E0159-6700-4C79-9E79-4238DAF7F348}"/>
              </a:ext>
            </a:extLst>
          </p:cNvPr>
          <p:cNvSpPr txBox="1"/>
          <p:nvPr/>
        </p:nvSpPr>
        <p:spPr>
          <a:xfrm>
            <a:off x="5755024" y="1799812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graphicFrame>
        <p:nvGraphicFramePr>
          <p:cNvPr id="14" name="Tabulka 11">
            <a:extLst>
              <a:ext uri="{FF2B5EF4-FFF2-40B4-BE49-F238E27FC236}">
                <a16:creationId xmlns:a16="http://schemas.microsoft.com/office/drawing/2014/main" id="{95FAB388-2E77-463A-A884-393092466C6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/>
          </p:nvPr>
        </p:nvGraphicFramePr>
        <p:xfrm>
          <a:off x="4943391" y="2473383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1909275" y="1799812"/>
            <a:ext cx="2069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hodnoty</a:t>
            </a: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1521170" y="2169145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9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/>
          </p:nvPr>
        </p:nvGraphicFramePr>
        <p:xfrm>
          <a:off x="257339" y="2473383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n-lt"/>
              </a:rPr>
              <a:t>14denní incidence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4F86700-D5B2-4E85-A67A-58512B3C1A7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5066" y="967666"/>
            <a:ext cx="51571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ovnání regionů k datu 8. 4. 2021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8982405" y="2844772"/>
            <a:ext cx="311338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i="1" dirty="0" smtClean="0"/>
              <a:t>Na počátku dubna klesá populační zátěž ve všech regionech, včetně Zlínska, kde zátěž  ještě v březnu významně rostla</a:t>
            </a:r>
            <a:endParaRPr lang="cs-CZ" sz="2400" b="1" i="1" dirty="0"/>
          </a:p>
        </p:txBody>
      </p:sp>
    </p:spTree>
    <p:extLst>
      <p:ext uri="{BB962C8B-B14F-4D97-AF65-F5344CB8AC3E}">
        <p14:creationId xmlns:p14="http://schemas.microsoft.com/office/powerpoint/2010/main" val="17547294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 smtClean="0"/>
              <a:t>Sledování vývoje epidemie na okresní úrovni </a:t>
            </a:r>
          </a:p>
          <a:p>
            <a:r>
              <a:rPr lang="cs-CZ" sz="4800" b="1" i="1" dirty="0" smtClean="0"/>
              <a:t>Identifikace rizikových trendů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8106300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77585" y="2771954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kto se ve zvýšeném riziku k 1.4. 2021 pohybovalo cca 10 okres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také celý kraj Zlín, kde byly prorůstové charakteristiky epidemie naměřeny v okresech Zlín a Kroměříž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6416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ně jsou sledovány regiony a okresy, u kterých jsou epidemické ukazatele v rizikové úrovni a u kterých epidemie vykazuje tendenci populačně narůstat 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82475" y="199773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9" y="47469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194458" y="5324633"/>
            <a:ext cx="115614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novější data potvrzují ve všech těchto oblastech postupný pokles zátěže a začínající ústup epidemie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68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7" y="1"/>
            <a:ext cx="6264132" cy="681036"/>
          </a:xfrm>
        </p:spPr>
        <p:txBody>
          <a:bodyPr>
            <a:normAutofit/>
          </a:bodyPr>
          <a:lstStyle/>
          <a:p>
            <a:r>
              <a:rPr lang="en-US" sz="2000" dirty="0" err="1">
                <a:latin typeface="+mj-lt"/>
              </a:rPr>
              <a:t>Vývoj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vybraných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epidemiologických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charakteristik</a:t>
            </a:r>
            <a:r>
              <a:rPr lang="en-US" sz="2000" dirty="0">
                <a:latin typeface="+mj-lt"/>
              </a:rPr>
              <a:t> k 1.4.2021</a:t>
            </a:r>
            <a:endParaRPr lang="cs-CZ" sz="2000" dirty="0">
              <a:latin typeface="+mj-lt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A097BF6-68A1-4D50-803F-482D0AA07F45}"/>
              </a:ext>
            </a:extLst>
          </p:cNvPr>
          <p:cNvSpPr txBox="1"/>
          <p:nvPr/>
        </p:nvSpPr>
        <p:spPr>
          <a:xfrm>
            <a:off x="1499826" y="809273"/>
            <a:ext cx="91324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 smtClean="0">
                <a:solidFill>
                  <a:schemeClr val="tx2"/>
                </a:solidFill>
              </a:rPr>
              <a:t>Nová data ukazují na pokles zátěže ve všech okresech, které byly k 1.4. označeny jako rizikové</a:t>
            </a:r>
            <a:endParaRPr lang="cs-CZ" sz="2000" b="1" dirty="0">
              <a:solidFill>
                <a:schemeClr val="tx2"/>
              </a:solidFill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10033964" y="1413164"/>
            <a:ext cx="701964" cy="36442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77590"/>
            <a:ext cx="12379452" cy="4849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438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7F7C1951-D37C-440D-9CB2-FD4E1160FE7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197157" y="1178533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2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–</a:t>
                      </a:r>
                      <a:r>
                        <a:rPr lang="en-US" sz="16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6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8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ZLK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5E47396A-300A-47BC-A5A2-A0A901ACEAC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0" y="637278"/>
            <a:ext cx="116089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ynamika vývoje počtů pozitivních diagnóz ukazuje na zpomalení šíření.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/>
        </p:nvSpPr>
        <p:spPr>
          <a:xfrm>
            <a:off x="1203450" y="2520191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172865" y="2520191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16865" y="252019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086280" y="252019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/>
        </p:nvSpPr>
        <p:spPr>
          <a:xfrm>
            <a:off x="9056914" y="252019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F644874-F2C9-4559-B699-84C7A880B3A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96068" y="3233088"/>
            <a:ext cx="474590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odhad R pro populaci ZL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,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</a:t>
            </a: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673A228D-29A9-4456-9E6C-CA62F04ACDDC}"/>
              </a:ext>
            </a:extLst>
          </p:cNvPr>
          <p:cNvGrpSpPr/>
          <p:nvPr/>
        </p:nvGrpSpPr>
        <p:grpSpPr>
          <a:xfrm>
            <a:off x="10590672" y="598016"/>
            <a:ext cx="1601328" cy="369333"/>
            <a:chOff x="12350220" y="6820895"/>
            <a:chExt cx="2317881" cy="534600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BAA338D3-6515-4EB8-9DDB-26BB85E6A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5D0289D7-44C2-4753-836F-75ABB656EA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8640383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 smtClean="0"/>
              <a:t>Zátěž nemocnic klesá v důsledku klesajícího počtu nákaz zranitelných pacientů </a:t>
            </a:r>
            <a:endParaRPr lang="cs-CZ" sz="5000" b="1" dirty="0"/>
          </a:p>
        </p:txBody>
      </p:sp>
    </p:spTree>
    <p:extLst>
      <p:ext uri="{BB962C8B-B14F-4D97-AF65-F5344CB8AC3E}">
        <p14:creationId xmlns:p14="http://schemas.microsoft.com/office/powerpoint/2010/main" val="28152450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0" y="1808535"/>
            <a:ext cx="11737832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ůsledku přijatých opatření dochází k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ému poklesu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íření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y, denní průměrné počty potvrzených případů klesly k cca 4 00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á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testů (o cca 10% za poslední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ýdny).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patrný u všech věkových kategorií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 počtu nakažených klesá týdně o cca 2000 – 2500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zpomaluje, klesá počet nových případů onemocnění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088514" y="402452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088514" y="584752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7642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ovéPole 20"/>
          <p:cNvSpPr txBox="1"/>
          <p:nvPr/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ý počet nově nakažených potenciálně zranitelných pacientů zvyšoval zátěž nemocnic.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sledním </a:t>
            </a:r>
            <a:r>
              <a:rPr kumimoji="0" lang="cs-CZ" sz="3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dobí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pacientů klesají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3C7B102-51CF-40DA-86E3-19AB93DE7FE7}"/>
              </a:ext>
            </a:extLst>
          </p:cNvPr>
          <p:cNvSpPr txBox="1"/>
          <p:nvPr/>
        </p:nvSpPr>
        <p:spPr>
          <a:xfrm>
            <a:off x="1896063" y="21387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35" name="Tabulka 3">
            <a:extLst>
              <a:ext uri="{FF2B5EF4-FFF2-40B4-BE49-F238E27FC236}">
                <a16:creationId xmlns:a16="http://schemas.microsoft.com/office/drawing/2014/main" id="{A3693099-23CE-4447-AC61-AFCE59524C7A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4780229" y="1318755"/>
          <a:ext cx="6406083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270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23381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1" u="sng" dirty="0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é 3 dny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28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7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 148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14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 01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2" name="Šipka doprava 1"/>
          <p:cNvSpPr/>
          <p:nvPr/>
        </p:nvSpPr>
        <p:spPr>
          <a:xfrm rot="1525312">
            <a:off x="11013483" y="4857956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08BC59A9-FEBF-48E7-BE01-130C7422F844}"/>
              </a:ext>
            </a:extLst>
          </p:cNvPr>
          <p:cNvGraphicFramePr/>
          <p:nvPr>
            <p:extLst/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927685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821763" y="4306873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/>
          </p:nvPr>
        </p:nvGraphicFramePr>
        <p:xfrm>
          <a:off x="850319" y="2610498"/>
          <a:ext cx="10389079" cy="4287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8581"/>
            <a:ext cx="1900937" cy="1908215"/>
            <a:chOff x="10258697" y="3527722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7722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</a:t>
              </a:r>
              <a:r>
                <a:rPr kumimoji="0" lang="cs-CZ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čty</a:t>
              </a: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graphicFrame>
        <p:nvGraphicFramePr>
          <p:cNvPr id="21" name="Tabulka 8">
            <a:extLst>
              <a:ext uri="{FF2B5EF4-FFF2-40B4-BE49-F238E27FC236}">
                <a16:creationId xmlns:a16="http://schemas.microsoft.com/office/drawing/2014/main" id="{09D6B58A-D08C-444F-A99C-551A355549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21582"/>
              </p:ext>
            </p:extLst>
          </p:nvPr>
        </p:nvGraphicFramePr>
        <p:xfrm>
          <a:off x="197157" y="672324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2.–3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.–7. 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09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13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22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10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39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43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0,3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,8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,0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5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28" name="Zahnutá šipka nahoru 25">
            <a:extLst>
              <a:ext uri="{FF2B5EF4-FFF2-40B4-BE49-F238E27FC236}">
                <a16:creationId xmlns:a16="http://schemas.microsoft.com/office/drawing/2014/main" id="{E359B7D7-130C-4173-9EFC-47F321C82F4E}"/>
              </a:ext>
            </a:extLst>
          </p:cNvPr>
          <p:cNvSpPr/>
          <p:nvPr/>
        </p:nvSpPr>
        <p:spPr>
          <a:xfrm>
            <a:off x="1203450" y="2013982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/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64D205E5-DBC4-422A-BF09-BCA621280F66}"/>
              </a:ext>
            </a:extLst>
          </p:cNvPr>
          <p:cNvSpPr/>
          <p:nvPr/>
        </p:nvSpPr>
        <p:spPr>
          <a:xfrm>
            <a:off x="9056914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4680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5089191"/>
              </p:ext>
            </p:extLst>
          </p:nvPr>
        </p:nvGraphicFramePr>
        <p:xfrm>
          <a:off x="638734" y="2293724"/>
          <a:ext cx="10889672" cy="4625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8581"/>
            <a:ext cx="1900937" cy="1908215"/>
            <a:chOff x="10258697" y="3527722"/>
            <a:chExt cx="1900937" cy="1908215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7722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</a:t>
              </a:r>
              <a:r>
                <a:rPr kumimoji="0" lang="cs-CZ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čty</a:t>
              </a: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lang="cs-CZ" sz="2800" b="1" u="sng" dirty="0">
                <a:solidFill>
                  <a:srgbClr val="0000FF"/>
                </a:solidFill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7" name="Tabulka 8">
            <a:extLst>
              <a:ext uri="{FF2B5EF4-FFF2-40B4-BE49-F238E27FC236}">
                <a16:creationId xmlns:a16="http://schemas.microsoft.com/office/drawing/2014/main" id="{6B7F79D0-8EDC-4EB5-A2DD-9DA744FC0B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5860004"/>
              </p:ext>
            </p:extLst>
          </p:nvPr>
        </p:nvGraphicFramePr>
        <p:xfrm>
          <a:off x="187920" y="496835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2.–3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.–7. 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8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5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6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8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0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9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2,9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,0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,1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9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3D31CB96-ADEB-47C9-A675-E23FD094E077}"/>
              </a:ext>
            </a:extLst>
          </p:cNvPr>
          <p:cNvSpPr/>
          <p:nvPr/>
        </p:nvSpPr>
        <p:spPr>
          <a:xfrm>
            <a:off x="1194213" y="1838493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531FA440-D950-4855-8A5A-41583949B9D7}"/>
              </a:ext>
            </a:extLst>
          </p:cNvPr>
          <p:cNvSpPr/>
          <p:nvPr/>
        </p:nvSpPr>
        <p:spPr>
          <a:xfrm>
            <a:off x="3163628" y="1838493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EED5D406-688B-4028-B433-E17549E6B582}"/>
              </a:ext>
            </a:extLst>
          </p:cNvPr>
          <p:cNvSpPr/>
          <p:nvPr/>
        </p:nvSpPr>
        <p:spPr>
          <a:xfrm>
            <a:off x="5107628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239684B6-1F9E-4D4A-99B3-465E0D266E48}"/>
              </a:ext>
            </a:extLst>
          </p:cNvPr>
          <p:cNvSpPr/>
          <p:nvPr/>
        </p:nvSpPr>
        <p:spPr>
          <a:xfrm>
            <a:off x="7077043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Zahnutá šipka nahoru 25">
            <a:extLst>
              <a:ext uri="{FF2B5EF4-FFF2-40B4-BE49-F238E27FC236}">
                <a16:creationId xmlns:a16="http://schemas.microsoft.com/office/drawing/2014/main" id="{014848F3-E01B-4FEE-A43C-793BB5BF9DED}"/>
              </a:ext>
            </a:extLst>
          </p:cNvPr>
          <p:cNvSpPr/>
          <p:nvPr/>
        </p:nvSpPr>
        <p:spPr>
          <a:xfrm>
            <a:off x="9047677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38635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961" y="93910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en-CZ" sz="4000" b="1" dirty="0">
                <a:latin typeface="+mn-lt"/>
              </a:rPr>
              <a:t>Aktuální </a:t>
            </a:r>
            <a:r>
              <a:rPr lang="cs-CZ" sz="4000" b="1" dirty="0">
                <a:latin typeface="+mn-lt"/>
              </a:rPr>
              <a:t>počty </a:t>
            </a:r>
            <a:r>
              <a:rPr lang="en-CZ" sz="4000" b="1" dirty="0">
                <a:latin typeface="+mn-lt"/>
              </a:rPr>
              <a:t>hospitalizovaných</a:t>
            </a:r>
            <a:r>
              <a:rPr lang="cs-CZ" sz="4000" b="1" dirty="0">
                <a:latin typeface="+mn-lt"/>
              </a:rPr>
              <a:t> pacientů </a:t>
            </a:r>
            <a:r>
              <a:rPr lang="cs-CZ" sz="4000" b="1" dirty="0" smtClean="0">
                <a:latin typeface="+mn-lt"/>
              </a:rPr>
              <a:t>klesají</a:t>
            </a:r>
            <a:r>
              <a:rPr lang="cs-CZ" sz="4000" b="1" dirty="0">
                <a:latin typeface="+mn-lt"/>
              </a:rPr>
              <a:t/>
            </a:r>
            <a:br>
              <a:rPr lang="cs-CZ" sz="4000" b="1" dirty="0">
                <a:latin typeface="+mn-lt"/>
              </a:rPr>
            </a:br>
            <a:r>
              <a:rPr lang="cs-CZ" sz="4000" b="1" dirty="0" smtClean="0">
                <a:latin typeface="+mn-lt"/>
              </a:rPr>
              <a:t>a roste i dostupná kapacita lůžek, včetně JIP</a:t>
            </a:r>
            <a:endParaRPr lang="en-CZ" sz="4000" b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6AA7CEA-DA9D-FB48-ACE8-2C23380168C2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82785" y="3294205"/>
            <a:ext cx="10515600" cy="344833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5700" dirty="0"/>
              <a:t>C</a:t>
            </a:r>
            <a:r>
              <a:rPr lang="en-CZ" sz="5700" dirty="0"/>
              <a:t>elkem v nemocnici: 		</a:t>
            </a:r>
            <a:r>
              <a:rPr lang="cs-CZ" sz="5700" dirty="0">
                <a:solidFill>
                  <a:srgbClr val="FF0000"/>
                </a:solidFill>
              </a:rPr>
              <a:t>5 </a:t>
            </a:r>
            <a:r>
              <a:rPr lang="cs-CZ" sz="5700" dirty="0" smtClean="0">
                <a:solidFill>
                  <a:srgbClr val="FF0000"/>
                </a:solidFill>
              </a:rPr>
              <a:t>348</a:t>
            </a:r>
            <a:endParaRPr lang="en-CZ" sz="57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CZ" sz="5700" dirty="0"/>
              <a:t>Z toho JIP:					</a:t>
            </a:r>
            <a:r>
              <a:rPr lang="cs-CZ" sz="5700" dirty="0">
                <a:solidFill>
                  <a:srgbClr val="FF0000"/>
                </a:solidFill>
              </a:rPr>
              <a:t>1 </a:t>
            </a:r>
            <a:r>
              <a:rPr lang="cs-CZ" sz="5700" dirty="0" smtClean="0">
                <a:solidFill>
                  <a:srgbClr val="FF0000"/>
                </a:solidFill>
              </a:rPr>
              <a:t>166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UPV: 				 	</a:t>
            </a:r>
            <a:r>
              <a:rPr lang="cs-CZ" sz="5700" dirty="0" smtClean="0">
                <a:solidFill>
                  <a:srgbClr val="FF0000"/>
                </a:solidFill>
              </a:rPr>
              <a:t>588</a:t>
            </a:r>
            <a:r>
              <a:rPr lang="en-CZ" sz="5700" dirty="0" smtClean="0">
                <a:solidFill>
                  <a:srgbClr val="FF0000"/>
                </a:solidFill>
              </a:rPr>
              <a:t>       </a:t>
            </a:r>
            <a:endParaRPr lang="en-CZ" sz="5700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ECMO:				</a:t>
            </a:r>
            <a:r>
              <a:rPr lang="cs-CZ" sz="5700" dirty="0" smtClean="0">
                <a:solidFill>
                  <a:srgbClr val="FF0000"/>
                </a:solidFill>
              </a:rPr>
              <a:t>20</a:t>
            </a:r>
            <a:endParaRPr lang="en-CZ" sz="4700" i="1" dirty="0"/>
          </a:p>
        </p:txBody>
      </p:sp>
      <p:sp>
        <p:nvSpPr>
          <p:cNvPr id="2" name="Šipka dolů 1"/>
          <p:cNvSpPr/>
          <p:nvPr/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7706306" y="2677172"/>
            <a:ext cx="2948709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.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 202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58564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1119" y="2587011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.4.2021 16:18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234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25"/>
          <p:cNvSpPr/>
          <p:nvPr/>
        </p:nvSpPr>
        <p:spPr>
          <a:xfrm>
            <a:off x="2888055" y="5642423"/>
            <a:ext cx="35178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Nemocnice s aktualizací starší 48 hod.: </a:t>
            </a: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2x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9" name="Obrázek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816" y="6011755"/>
            <a:ext cx="8628301" cy="258300"/>
          </a:xfrm>
          <a:prstGeom prst="rect">
            <a:avLst/>
          </a:prstGeom>
        </p:spPr>
      </p:pic>
      <p:graphicFrame>
        <p:nvGraphicFramePr>
          <p:cNvPr id="5" name="Tabulka 4"/>
          <p:cNvGraphicFramePr>
            <a:graphicFrameLocks noGrp="1"/>
          </p:cNvGraphicFramePr>
          <p:nvPr>
            <p:extLst/>
          </p:nvPr>
        </p:nvGraphicFramePr>
        <p:xfrm>
          <a:off x="648205" y="1030224"/>
          <a:ext cx="7997522" cy="4652455"/>
        </p:xfrm>
        <a:graphic>
          <a:graphicData uri="http://schemas.openxmlformats.org/drawingml/2006/table">
            <a:tbl>
              <a:tblPr/>
              <a:tblGrid>
                <a:gridCol w="2044583">
                  <a:extLst>
                    <a:ext uri="{9D8B030D-6E8A-4147-A177-3AD203B41FA5}">
                      <a16:colId xmlns:a16="http://schemas.microsoft.com/office/drawing/2014/main" val="1538915749"/>
                    </a:ext>
                  </a:extLst>
                </a:gridCol>
                <a:gridCol w="1251787">
                  <a:extLst>
                    <a:ext uri="{9D8B030D-6E8A-4147-A177-3AD203B41FA5}">
                      <a16:colId xmlns:a16="http://schemas.microsoft.com/office/drawing/2014/main" val="91153587"/>
                    </a:ext>
                  </a:extLst>
                </a:gridCol>
                <a:gridCol w="1157901">
                  <a:extLst>
                    <a:ext uri="{9D8B030D-6E8A-4147-A177-3AD203B41FA5}">
                      <a16:colId xmlns:a16="http://schemas.microsoft.com/office/drawing/2014/main" val="2560717981"/>
                    </a:ext>
                  </a:extLst>
                </a:gridCol>
                <a:gridCol w="1147471">
                  <a:extLst>
                    <a:ext uri="{9D8B030D-6E8A-4147-A177-3AD203B41FA5}">
                      <a16:colId xmlns:a16="http://schemas.microsoft.com/office/drawing/2014/main" val="23172813"/>
                    </a:ext>
                  </a:extLst>
                </a:gridCol>
                <a:gridCol w="1196152">
                  <a:extLst>
                    <a:ext uri="{9D8B030D-6E8A-4147-A177-3AD203B41FA5}">
                      <a16:colId xmlns:a16="http://schemas.microsoft.com/office/drawing/2014/main" val="1044156663"/>
                    </a:ext>
                  </a:extLst>
                </a:gridCol>
                <a:gridCol w="1199628">
                  <a:extLst>
                    <a:ext uri="{9D8B030D-6E8A-4147-A177-3AD203B41FA5}">
                      <a16:colId xmlns:a16="http://schemas.microsoft.com/office/drawing/2014/main" val="2662186388"/>
                    </a:ext>
                  </a:extLst>
                </a:gridCol>
              </a:tblGrid>
              <a:tr h="207489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12.4. 2021, 6:00 h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8603503"/>
                  </a:ext>
                </a:extLst>
              </a:tr>
              <a:tr h="173401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6547063"/>
                  </a:ext>
                </a:extLst>
              </a:tr>
              <a:tr h="20748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845375"/>
                  </a:ext>
                </a:extLst>
              </a:tr>
              <a:tr h="60023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882982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4702780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083047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2594392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834975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98419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16474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071079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479225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3372076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3767128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3531583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256392"/>
                  </a:ext>
                </a:extLst>
              </a:tr>
              <a:tr h="1852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377119"/>
                  </a:ext>
                </a:extLst>
              </a:tr>
              <a:tr h="2000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4315742"/>
                  </a:ext>
                </a:extLst>
              </a:tr>
              <a:tr h="2148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28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2957531"/>
                  </a:ext>
                </a:extLst>
              </a:tr>
              <a:tr h="339392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84671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4189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42" y="3931234"/>
            <a:ext cx="11905307" cy="1974265"/>
          </a:xfrm>
        </p:spPr>
        <p:txBody>
          <a:bodyPr>
            <a:noAutofit/>
          </a:bodyPr>
          <a:lstStyle/>
          <a:p>
            <a:r>
              <a:rPr lang="cs-CZ" sz="4800" b="1" dirty="0"/>
              <a:t>Vybrané výstupy z prediktivních </a:t>
            </a:r>
            <a:r>
              <a:rPr lang="cs-CZ" sz="4800" b="1" dirty="0" smtClean="0"/>
              <a:t>modelů</a:t>
            </a:r>
            <a:endParaRPr lang="cs-CZ" sz="4800" b="1" dirty="0"/>
          </a:p>
        </p:txBody>
      </p:sp>
    </p:spTree>
    <p:extLst>
      <p:ext uri="{BB962C8B-B14F-4D97-AF65-F5344CB8AC3E}">
        <p14:creationId xmlns:p14="http://schemas.microsoft.com/office/powerpoint/2010/main" val="20125250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pro rychlé brždění epidemie provedená dne 5.3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od konce </a:t>
            </a:r>
            <a:r>
              <a:rPr kumimoji="0" lang="cs-CZ" sz="3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řezna 2021 ukazuje na rychlejší zpomalování epidemie. V tomto trendu se již s vysokou pravděpodobností promítá postupující očkování populace. </a:t>
            </a:r>
            <a:endParaRPr kumimoji="0" lang="cs-CZ" sz="34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20413" y="3290193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á predikce dle modelu SEIR, který byl pro epidemii COVID-19 </a:t>
            </a:r>
            <a:endParaRPr kumimoji="0" lang="cs-CZ" sz="3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R adaptován na počátku dubna 2020.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7395" y="5891166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33835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a silnější dodržování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DE94B3AB-8C08-42DA-889E-EBECD83718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821" y="1666784"/>
            <a:ext cx="7250497" cy="3240000"/>
          </a:xfrm>
          <a:prstGeom prst="rect">
            <a:avLst/>
          </a:prstGeom>
        </p:spPr>
      </p:pic>
      <p:sp>
        <p:nvSpPr>
          <p:cNvPr id="18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918517" y="3234501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600" b="1" dirty="0"/>
              <a:t>Nové případy onemocnění za den</a:t>
            </a:r>
          </a:p>
        </p:txBody>
      </p:sp>
      <p:sp>
        <p:nvSpPr>
          <p:cNvPr id="19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751073" y="1982467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1200" dirty="0"/>
              <a:t>bez periodicity v rámci týdne, odpovídá cca týdenním klouzavým průměrům</a:t>
            </a:r>
          </a:p>
        </p:txBody>
      </p:sp>
      <p:pic>
        <p:nvPicPr>
          <p:cNvPr id="20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100" y="4906784"/>
            <a:ext cx="7834447" cy="830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724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a silnější dodržování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, PRACOVNÍ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065AF9DE-7CFE-4B12-93D0-2D76C7FBF0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710" y="1689999"/>
            <a:ext cx="7250497" cy="3240000"/>
          </a:xfrm>
          <a:prstGeom prst="rect">
            <a:avLst/>
          </a:prstGeom>
        </p:spPr>
      </p:pic>
      <p:sp>
        <p:nvSpPr>
          <p:cNvPr id="18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73040" y="3256449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600" b="1" dirty="0"/>
              <a:t>Nové případy onemocnění za den</a:t>
            </a:r>
          </a:p>
        </p:txBody>
      </p:sp>
      <p:sp>
        <p:nvSpPr>
          <p:cNvPr id="19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796550" y="2004415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1200" dirty="0"/>
              <a:t>bez periodicity v rámci týdne, odpovídá cca týdenním klouzavým průměrům</a:t>
            </a:r>
          </a:p>
        </p:txBody>
      </p:sp>
      <p:pic>
        <p:nvPicPr>
          <p:cNvPr id="20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577" y="4928732"/>
            <a:ext cx="7834447" cy="830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915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 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3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/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1249C80-BFB2-40C2-AF2B-7672FDA1BE4E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udržení a částečné posílení opatření z 1.3.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9. 4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205518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7776" y="2362711"/>
            <a:ext cx="11737832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to trend je prokazatelný, ačkoli nyní srovnáváme nová data s referenčním obdobím, které zahrnuje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ikonoce. Ve sváteční dny došlo ke snížení prováděných testů a nízké záchyty nemo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Velikonocích zkreslují odhad reprodukčního čísla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odukční číslo kalkulované standardně na týdenní časové periodě zdánlivě narůstá vlivem Velikonočních dat (hodnota 1,05). Pokud R kalkulujeme na 14denním časovém okně, je hodnota 0,85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90" y="193277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zpomaluje, </a:t>
            </a:r>
            <a:r>
              <a:rPr kumimoji="0" lang="cs-CZ" sz="3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vrzuje to i nový záchyt onemocnění z pondělí 12.4., který činí </a:t>
            </a:r>
            <a:r>
              <a:rPr kumimoji="0" lang="cs-CZ" sz="3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843 případů</a:t>
            </a:r>
            <a:endParaRPr kumimoji="0" lang="cs-CZ" sz="3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36290" y="45505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066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9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029701" y="3856060"/>
            <a:ext cx="2956844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C: silný dopad opatření - pokračování</a:t>
            </a:r>
          </a:p>
        </p:txBody>
      </p:sp>
      <p:sp>
        <p:nvSpPr>
          <p:cNvPr id="20" name="TextovéPole 23">
            <a:extLst>
              <a:ext uri="{FF2B5EF4-FFF2-40B4-BE49-F238E27FC236}">
                <a16:creationId xmlns:a16="http://schemas.microsoft.com/office/drawing/2014/main" id="{2F9A611F-3D05-40D4-AA01-B765A1AD4B4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029701" y="2845281"/>
            <a:ext cx="2956844" cy="646331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B: slabší dopad opatření - pokračování</a:t>
            </a:r>
          </a:p>
        </p:txBody>
      </p:sp>
    </p:spTree>
    <p:extLst>
      <p:ext uri="{BB962C8B-B14F-4D97-AF65-F5344CB8AC3E}">
        <p14:creationId xmlns:p14="http://schemas.microsoft.com/office/powerpoint/2010/main" val="34458451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B364D7-B9DD-4ACF-A330-0F27E8BA3BF5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TextovéPole 8">
            <a:extLst>
              <a:ext uri="{FF2B5EF4-FFF2-40B4-BE49-F238E27FC236}">
                <a16:creationId xmlns:a16="http://schemas.microsoft.com/office/drawing/2014/main" id="{CB706991-EBE8-4027-BDB5-C4FC71BF2B1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029701" y="3856060"/>
            <a:ext cx="2956844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C: silný dopad opatření - pokračování</a:t>
            </a:r>
          </a:p>
        </p:txBody>
      </p:sp>
      <p:sp>
        <p:nvSpPr>
          <p:cNvPr id="26" name="TextovéPole 23">
            <a:extLst>
              <a:ext uri="{FF2B5EF4-FFF2-40B4-BE49-F238E27FC236}">
                <a16:creationId xmlns:a16="http://schemas.microsoft.com/office/drawing/2014/main" id="{AA05B670-E2FC-41D0-A9F8-BC014393206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029701" y="2845281"/>
            <a:ext cx="2956844" cy="646331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B: slabší dopad opatření - pokračování</a:t>
            </a:r>
          </a:p>
        </p:txBody>
      </p:sp>
    </p:spTree>
    <p:extLst>
      <p:ext uri="{BB962C8B-B14F-4D97-AF65-F5344CB8AC3E}">
        <p14:creationId xmlns:p14="http://schemas.microsoft.com/office/powerpoint/2010/main" val="22493136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. to dokládá</a:t>
            </a:r>
            <a:r>
              <a:rPr kumimoji="0" lang="cs-CZ" sz="3400" b="1" i="1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 simulace možného dopadu rozvolnění, která zakalkulovala částečný návrat dětí do škol a navýšení rizikových kontaktů v populaci o 10 až 20% </a:t>
            </a:r>
            <a:endParaRPr kumimoji="0" lang="cs-CZ" sz="34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75831" y="2214475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es rychlé zpomalování epidemie</a:t>
            </a:r>
            <a:r>
              <a:rPr kumimoji="0" lang="cs-CZ" sz="36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stále zátěž nemocnic velmi vysoká a epidemie na populační úrovni má potenciál vrátit trend k opětovnému růstu …. 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2" y="5133784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4547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FA10D64A-8F15-430D-BED3-F83477ECF3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40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3" name="TextovéPole 2"/>
          <p:cNvSpPr txBox="1"/>
          <p:nvPr/>
        </p:nvSpPr>
        <p:spPr>
          <a:xfrm>
            <a:off x="7121048" y="3471019"/>
            <a:ext cx="508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 smtClean="0">
                <a:latin typeface="Arial Black" panose="020B0A04020102020204" pitchFamily="34" charset="0"/>
              </a:rPr>
              <a:t>!</a:t>
            </a:r>
            <a:endParaRPr lang="cs-CZ" sz="3600" b="1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679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76A1F31-5410-48DC-9C58-DE2542691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Schéma stavového modelu SEIR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dlouhodobé simulace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u="sng" dirty="0"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en-US" sz="24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dopadem</a:t>
            </a:r>
            <a:r>
              <a:rPr lang="en-US" sz="2400" b="1" u="sng" dirty="0"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cs-CZ" sz="24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čkování</a:t>
            </a:r>
            <a:endParaRPr lang="cs-CZ" sz="14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941293" y="3379695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682998" y="3379695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43" name="Obdélník 42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424703" y="235836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297887" y="337073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45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2993463" y="3702423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bdélník 45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424703" y="4405503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47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685928" y="2684930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685926" y="4724397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685927" y="2788023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469462" y="3659841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Obdélník 5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469463" y="2788023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588052" y="2099426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346138" y="2332960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184948" y="3424534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621057" y="2376425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038466" y="1601550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57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367795" y="2008872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297887" y="5607329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21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663430" y="5879750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746122" y="4793347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659276" y="4470619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1928873" y="5516187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</p:spTree>
    <p:extLst>
      <p:ext uri="{BB962C8B-B14F-4D97-AF65-F5344CB8AC3E}">
        <p14:creationId xmlns:p14="http://schemas.microsoft.com/office/powerpoint/2010/main" val="5837304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53F5A69B-9CF8-4A6F-ACFE-3DF1E33FB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23" y="153055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MA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druhé dávky</a:t>
            </a:r>
          </a:p>
        </p:txBody>
      </p:sp>
    </p:spTree>
    <p:extLst>
      <p:ext uri="{BB962C8B-B14F-4D97-AF65-F5344CB8AC3E}">
        <p14:creationId xmlns:p14="http://schemas.microsoft.com/office/powerpoint/2010/main" val="10530264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F74F133B-8D1B-47AD-AEEF-D0D631C7E5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405" y="152690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42557716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42" y="3931234"/>
            <a:ext cx="11905307" cy="1974265"/>
          </a:xfrm>
        </p:spPr>
        <p:txBody>
          <a:bodyPr>
            <a:noAutofit/>
          </a:bodyPr>
          <a:lstStyle/>
          <a:p>
            <a:r>
              <a:rPr lang="cs-CZ" sz="4800" b="1" dirty="0" smtClean="0"/>
              <a:t>Testy: základní vybrané přehledy </a:t>
            </a:r>
            <a:endParaRPr lang="cs-CZ" sz="4800" b="1" dirty="0"/>
          </a:p>
        </p:txBody>
      </p:sp>
    </p:spTree>
    <p:extLst>
      <p:ext uri="{BB962C8B-B14F-4D97-AF65-F5344CB8AC3E}">
        <p14:creationId xmlns:p14="http://schemas.microsoft.com/office/powerpoint/2010/main" val="24591379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voj</a:t>
            </a:r>
            <a:r>
              <a:rPr lang="cs-CZ" dirty="0"/>
              <a:t> celkového počtu AG testů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7345DDB-43EE-452C-A95B-DB39F7AE0E10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274918" y="1105148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3FC2E39-464E-4F19-A4F0-8DA5EC09170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10277" y="3244333"/>
            <a:ext cx="23898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antigenních testů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8117DB0-940A-4E75-89B9-AAC763A78F46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 flipV="1">
            <a:off x="5477431" y="1105148"/>
            <a:ext cx="0" cy="158426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13D1302-3D0D-47FC-BA2A-72D34A73751A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5468467" y="1105148"/>
            <a:ext cx="1013012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01299CE-19AE-4CE2-A528-4EF5868B7A8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30676" y="655909"/>
            <a:ext cx="40984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ájení testování ve firmách od 1.3.2021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299842E-FE9D-42F8-B98D-001BDA3C630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V="1">
            <a:off x="1561489" y="3379871"/>
            <a:ext cx="4190725" cy="61166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AFA68B0-255A-4FC0-AF09-7A85CB1A7736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8879167" y="1083920"/>
          <a:ext cx="2640479" cy="3556635"/>
        </p:xfrm>
        <a:graphic>
          <a:graphicData uri="http://schemas.openxmlformats.org/drawingml/2006/table">
            <a:tbl>
              <a:tblPr/>
              <a:tblGrid>
                <a:gridCol w="1388696">
                  <a:extLst>
                    <a:ext uri="{9D8B030D-6E8A-4147-A177-3AD203B41FA5}">
                      <a16:colId xmlns:a16="http://schemas.microsoft.com/office/drawing/2014/main" val="2193522821"/>
                    </a:ext>
                  </a:extLst>
                </a:gridCol>
                <a:gridCol w="1251783">
                  <a:extLst>
                    <a:ext uri="{9D8B030D-6E8A-4147-A177-3AD203B41FA5}">
                      <a16:colId xmlns:a16="http://schemas.microsoft.com/office/drawing/2014/main" val="9066569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denní počet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56689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1 - 1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 4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13315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1 - 1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 0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06849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1 - 2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 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13119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1 - 3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54485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2 - 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 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13112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2 - 1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 6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167845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2 - 2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1 5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8191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.2 - 2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1 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75948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 - 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7 9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81702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3 - 1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5 0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51773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3 - 2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7 8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107109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.3. – 28.3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6 7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13675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3. – 4.4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2 3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75535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4. – 11.4.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2 7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9655653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1A59CBBB-2054-478F-8D0C-0886B13F69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978422" y="5367889"/>
            <a:ext cx="288609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poloviny ledna 202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 kontinuálně zvyšuje počet provedených antigenních testů.</a:t>
            </a:r>
          </a:p>
        </p:txBody>
      </p:sp>
      <p:sp>
        <p:nvSpPr>
          <p:cNvPr id="3" name="TextovéPole 2"/>
          <p:cNvSpPr txBox="1"/>
          <p:nvPr>
            <p:custDataLst>
              <p:tags r:id="rId10"/>
            </p:custDataLst>
          </p:nvPr>
        </p:nvSpPr>
        <p:spPr>
          <a:xfrm>
            <a:off x="1215950" y="754500"/>
            <a:ext cx="378523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 zahájení testování ve firmách narostl denní počet provedených AG test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ž n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íce než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0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pomalému nárůstu docházelo již od počátku února 2021.  </a:t>
            </a:r>
          </a:p>
        </p:txBody>
      </p:sp>
    </p:spTree>
    <p:extLst>
      <p:ext uri="{BB962C8B-B14F-4D97-AF65-F5344CB8AC3E}">
        <p14:creationId xmlns:p14="http://schemas.microsoft.com/office/powerpoint/2010/main" val="3121437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789970" cy="576000"/>
          </a:xfrm>
        </p:spPr>
        <p:txBody>
          <a:bodyPr/>
          <a:lstStyle/>
          <a:p>
            <a:r>
              <a:rPr lang="cs-CZ" dirty="0"/>
              <a:t>Počet provedených a vykázaných PCR testů v ČR 1. 2. – </a:t>
            </a:r>
            <a:r>
              <a:rPr lang="en-US" dirty="0"/>
              <a:t>8</a:t>
            </a:r>
            <a:r>
              <a:rPr lang="cs-CZ" dirty="0"/>
              <a:t>. </a:t>
            </a:r>
            <a:r>
              <a:rPr lang="en-US" dirty="0"/>
              <a:t>4</a:t>
            </a:r>
            <a:r>
              <a:rPr lang="cs-CZ" dirty="0"/>
              <a:t>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1" name="TextovéPole 30">
            <a:extLst>
              <a:ext uri="{FF2B5EF4-FFF2-40B4-BE49-F238E27FC236}">
                <a16:creationId xmlns:a16="http://schemas.microsoft.com/office/drawing/2014/main" id="{2C856690-3CB5-41BB-A9B4-5A7F9CD8858C}"/>
              </a:ext>
            </a:extLst>
          </p:cNvPr>
          <p:cNvSpPr txBox="1"/>
          <p:nvPr/>
        </p:nvSpPr>
        <p:spPr>
          <a:xfrm>
            <a:off x="4536747" y="2431315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6DB5DE7D-6D64-4C76-AB66-3B6A6719A32B}"/>
              </a:ext>
            </a:extLst>
          </p:cNvPr>
          <p:cNvSpPr txBox="1"/>
          <p:nvPr/>
        </p:nvSpPr>
        <p:spPr>
          <a:xfrm>
            <a:off x="6610153" y="2431315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FD5A5507-9AA2-43D8-84A0-5BC21F28FFF9}"/>
              </a:ext>
            </a:extLst>
          </p:cNvPr>
          <p:cNvSpPr txBox="1"/>
          <p:nvPr/>
        </p:nvSpPr>
        <p:spPr>
          <a:xfrm>
            <a:off x="8588497" y="2431315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D777C2D5-9C85-4AD7-9924-2C2FA82ADAB4}"/>
              </a:ext>
            </a:extLst>
          </p:cNvPr>
          <p:cNvSpPr txBox="1"/>
          <p:nvPr/>
        </p:nvSpPr>
        <p:spPr>
          <a:xfrm>
            <a:off x="2547619" y="2431315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92075" y="728269"/>
            <a:ext cx="117331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pracovních dnech týdn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ižuje: klesá počet klinicky indikovaných testů 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813198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/>
        </p:nvSpPr>
        <p:spPr>
          <a:xfrm>
            <a:off x="4067842" y="2813198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/>
        </p:nvSpPr>
        <p:spPr>
          <a:xfrm>
            <a:off x="6120700" y="2813198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153921" y="2813285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1" name="Tabulka 4">
            <a:extLst>
              <a:ext uri="{FF2B5EF4-FFF2-40B4-BE49-F238E27FC236}">
                <a16:creationId xmlns:a16="http://schemas.microsoft.com/office/drawing/2014/main" id="{0B004F82-A4AC-4ABA-A77C-5BDA41430CF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4549551"/>
              </p:ext>
            </p:extLst>
          </p:nvPr>
        </p:nvGraphicFramePr>
        <p:xfrm>
          <a:off x="1103314" y="2094250"/>
          <a:ext cx="9900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3754285602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764063676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544989849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38073876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4359255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102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02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61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830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77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859167"/>
                  </a:ext>
                </a:extLst>
              </a:tr>
            </a:tbl>
          </a:graphicData>
        </a:graphic>
      </p:graphicFrame>
      <p:graphicFrame>
        <p:nvGraphicFramePr>
          <p:cNvPr id="42" name="Tabulka 6">
            <a:extLst>
              <a:ext uri="{FF2B5EF4-FFF2-40B4-BE49-F238E27FC236}">
                <a16:creationId xmlns:a16="http://schemas.microsoft.com/office/drawing/2014/main" id="{1ED993D5-BB94-4BB2-9F48-5AD05201708C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54428028"/>
              </p:ext>
            </p:extLst>
          </p:nvPr>
        </p:nvGraphicFramePr>
        <p:xfrm>
          <a:off x="2288824" y="2405371"/>
          <a:ext cx="742982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4394">
                  <a:extLst>
                    <a:ext uri="{9D8B030D-6E8A-4147-A177-3AD203B41FA5}">
                      <a16:colId xmlns:a16="http://schemas.microsoft.com/office/drawing/2014/main" val="24360493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90204682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3269273156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37649750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5565119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1696613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9136193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2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.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.9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114"/>
                  </a:ext>
                </a:extLst>
              </a:tr>
            </a:tbl>
          </a:graphicData>
        </a:graphic>
      </p:graphicFrame>
      <p:sp>
        <p:nvSpPr>
          <p:cNvPr id="21" name="TextovéPole 43">
            <a:extLst>
              <a:ext uri="{FF2B5EF4-FFF2-40B4-BE49-F238E27FC236}">
                <a16:creationId xmlns:a16="http://schemas.microsoft.com/office/drawing/2014/main" id="{3D811309-C302-47A7-9CFB-D9FBC010583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8686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–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TextovéPole 44">
            <a:extLst>
              <a:ext uri="{FF2B5EF4-FFF2-40B4-BE49-F238E27FC236}">
                <a16:creationId xmlns:a16="http://schemas.microsoft.com/office/drawing/2014/main" id="{441C94FC-4D54-49A8-A97E-B46DF7888DA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155810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–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7" name="TextovéPole 45">
            <a:extLst>
              <a:ext uri="{FF2B5EF4-FFF2-40B4-BE49-F238E27FC236}">
                <a16:creationId xmlns:a16="http://schemas.microsoft.com/office/drawing/2014/main" id="{ED9A7543-8DF6-42CE-B5FD-E460EC907DF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119947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3.–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3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8" name="TextovéPole 46">
            <a:extLst>
              <a:ext uri="{FF2B5EF4-FFF2-40B4-BE49-F238E27FC236}">
                <a16:creationId xmlns:a16="http://schemas.microsoft.com/office/drawing/2014/main" id="{6D3E4DD1-1F90-4777-B4EA-3E132009F8C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100304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6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3.–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9" name="TextovéPole 47">
            <a:extLst>
              <a:ext uri="{FF2B5EF4-FFF2-40B4-BE49-F238E27FC236}">
                <a16:creationId xmlns:a16="http://schemas.microsoft.com/office/drawing/2014/main" id="{10744195-8756-42DD-8528-9B98AE4138AB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9064441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–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6903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389727" y="1739629"/>
            <a:ext cx="11368377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es významné zpomalení epidemie jsou počty nově nakažených stále až 5 - 6x vyšší než doporučená mezinárodní hodnota (14denní incidence: 100 případů/100 tis.). Zátěž nemocnic významně klesá, avšak i přes významný pokles je </a:t>
            </a:r>
            <a:r>
              <a:rPr kumimoji="0" lang="cs-CZ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ložnost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ůžek JIP rovna maximu z podzimu 2020.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probíhá komunitní šíření viru a i přes postupující vakcinaci je stále minimálně polovina dospělé populace citlivá k nákaze. </a:t>
            </a:r>
            <a:r>
              <a:rPr kumimoji="0" lang="cs-CZ" sz="30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ňování musí být velmi pozvolné, jinak stále hrozí návrat epidemie k růstu. 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5426" y="129697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16080" y="116631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sto nelze situaci označit za vyřešenou, zátěž populace je stále vysoká 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35427" y="429037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521190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ovéPole 20">
            <a:extLst>
              <a:ext uri="{FF2B5EF4-FFF2-40B4-BE49-F238E27FC236}">
                <a16:creationId xmlns:a16="http://schemas.microsoft.com/office/drawing/2014/main" id="{AAE0361F-E506-4977-82C5-F24A5FA62772}"/>
              </a:ext>
            </a:extLst>
          </p:cNvPr>
          <p:cNvSpPr txBox="1"/>
          <p:nvPr/>
        </p:nvSpPr>
        <p:spPr>
          <a:xfrm rot="16200000">
            <a:off x="-577054" y="4305215"/>
            <a:ext cx="1944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sob s COVID-19</a:t>
            </a:r>
          </a:p>
        </p:txBody>
      </p:sp>
      <p:sp>
        <p:nvSpPr>
          <p:cNvPr id="27" name="TextBox 6">
            <a:extLst>
              <a:ext uri="{FF2B5EF4-FFF2-40B4-BE49-F238E27FC236}">
                <a16:creationId xmlns:a16="http://schemas.microsoft.com/office/drawing/2014/main" id="{9973232A-9684-4FC9-AE77-1386A1121E76}"/>
              </a:ext>
            </a:extLst>
          </p:cNvPr>
          <p:cNvSpPr txBox="1"/>
          <p:nvPr/>
        </p:nvSpPr>
        <p:spPr>
          <a:xfrm>
            <a:off x="2763581" y="2175649"/>
            <a:ext cx="6823293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pady potvrzené z klinicky, diagnosticky a epidemiologicky indikovaných testů</a:t>
            </a:r>
          </a:p>
        </p:txBody>
      </p: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50799D38-217C-4919-BC0B-8935B9826571}"/>
              </a:ext>
            </a:extLst>
          </p:cNvPr>
          <p:cNvCxnSpPr>
            <a:cxnSpLocks/>
          </p:cNvCxnSpPr>
          <p:nvPr/>
        </p:nvCxnSpPr>
        <p:spPr>
          <a:xfrm flipH="1">
            <a:off x="1442912" y="1677620"/>
            <a:ext cx="2343997" cy="12898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30">
            <a:extLst>
              <a:ext uri="{FF2B5EF4-FFF2-40B4-BE49-F238E27FC236}">
                <a16:creationId xmlns:a16="http://schemas.microsoft.com/office/drawing/2014/main" id="{8F229281-C9AA-48B9-A3C0-B2FD523C78CB}"/>
              </a:ext>
            </a:extLst>
          </p:cNvPr>
          <p:cNvCxnSpPr>
            <a:cxnSpLocks/>
          </p:cNvCxnSpPr>
          <p:nvPr/>
        </p:nvCxnSpPr>
        <p:spPr>
          <a:xfrm>
            <a:off x="8508767" y="1677620"/>
            <a:ext cx="2558924" cy="12898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Chart 4">
            <a:extLst>
              <a:ext uri="{FF2B5EF4-FFF2-40B4-BE49-F238E27FC236}">
                <a16:creationId xmlns:a16="http://schemas.microsoft.com/office/drawing/2014/main" id="{5669529C-2BEF-4D3F-B465-B1D1833F5EF3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18529" y="2591454"/>
          <a:ext cx="11354940" cy="3796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25">
            <a:extLst>
              <a:ext uri="{FF2B5EF4-FFF2-40B4-BE49-F238E27FC236}">
                <a16:creationId xmlns:a16="http://schemas.microsoft.com/office/drawing/2014/main" id="{9460E54A-BCE1-4A6B-A585-8774D077CAA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7652" y="6147004"/>
            <a:ext cx="1195669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jednodušený výpočet reprodukčního čísla představuje podíl sedmidenních oken, vzájemně posunutých o užívanou průměrnou délku sériového intervalu (5 dní). Postup je obdobný jako využívá německý Institut Roberta Kocha, pro jednoduchost bez využití „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wcastingu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. (AN DER HEIDEN, Matthias; HAMOUDA, 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amah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ätzung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r 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ellen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wicklung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r SARS-CoV-2-Epidemie in 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utschland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wcasting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ull, 2020, 17: 10-15.)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0E42F6-B92A-44A5-92E4-F4D89292D6F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4407" y="-38969"/>
            <a:ext cx="8801640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n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 případy u testů z diagnostické, klinické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</a:t>
            </a:r>
            <a:r>
              <a:rPr kumimoji="0" lang="en-US" sz="3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ologick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indikace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00A3F12B-FECE-4814-AB92-A8A1333F907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002054" y="1274667"/>
            <a:ext cx="83463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had R pro ČR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7</a:t>
            </a: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632353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dirty="0"/>
              <a:t>Počty pozitivních případů nově diagnostikovaných v </a:t>
            </a:r>
            <a:r>
              <a:rPr lang="cs-CZ" dirty="0" smtClean="0"/>
              <a:t>březnu a dubnu dle </a:t>
            </a:r>
            <a:r>
              <a:rPr lang="cs-CZ" dirty="0"/>
              <a:t>typu testu 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254641" y="996491"/>
            <a:ext cx="1167065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sng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genní testy dlouhodobě zachytávají 18 – 20% nově pozitivně diagnostikovaných případů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endParaRPr kumimoji="0" lang="cs-CZ" sz="3600" b="1" i="0" u="none" strike="noStrike" kern="1200" cap="none" spc="0" normalizeH="0" baseline="0" noProof="0" dirty="0" smtClean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 smtClean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ymptomatických případů AG testy tvoří cca 7 – 8% všech nově diagnostikovaných.</a:t>
            </a:r>
          </a:p>
        </p:txBody>
      </p:sp>
      <p:sp>
        <p:nvSpPr>
          <p:cNvPr id="19" name="Šipka dolů 18"/>
          <p:cNvSpPr/>
          <p:nvPr/>
        </p:nvSpPr>
        <p:spPr>
          <a:xfrm>
            <a:off x="5542567" y="2564112"/>
            <a:ext cx="1304237" cy="50963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Šipka dolů 19"/>
          <p:cNvSpPr/>
          <p:nvPr/>
        </p:nvSpPr>
        <p:spPr>
          <a:xfrm>
            <a:off x="5381220" y="5186316"/>
            <a:ext cx="1626932" cy="50963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275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able 58">
            <a:extLst>
              <a:ext uri="{FF2B5EF4-FFF2-40B4-BE49-F238E27FC236}">
                <a16:creationId xmlns:a16="http://schemas.microsoft.com/office/drawing/2014/main" id="{80995D50-4776-4506-93F8-6BD71CF7EDD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1021553" y="2167347"/>
          <a:ext cx="5282263" cy="4662080"/>
        </p:xfrm>
        <a:graphic>
          <a:graphicData uri="http://schemas.openxmlformats.org/drawingml/2006/table">
            <a:tbl>
              <a:tblPr/>
              <a:tblGrid>
                <a:gridCol w="5282263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99 401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44 028 (81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641322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42 144 (47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734207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01 884 (34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72679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55 373 (18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370284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</a:t>
                      </a:r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mptomatičtí</a:t>
                      </a: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= 32 042 (10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612729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</a:t>
                      </a:r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8814766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3 331 (7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248792"/>
                  </a:ext>
                </a:extLst>
              </a:tr>
            </a:tbl>
          </a:graphicData>
        </a:graphic>
      </p:graphicFrame>
      <p:sp>
        <p:nvSpPr>
          <p:cNvPr id="38" name="TextBox 59">
            <a:extLst>
              <a:ext uri="{FF2B5EF4-FFF2-40B4-BE49-F238E27FC236}">
                <a16:creationId xmlns:a16="http://schemas.microsoft.com/office/drawing/2014/main" id="{9602BDD7-27C5-406C-B27E-8A4113784C2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7583" y="1364372"/>
            <a:ext cx="153439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dobí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3. –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3. 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dirty="0"/>
              <a:t>Počty pozitivních případů nově diagnostikovaných v </a:t>
            </a:r>
            <a:r>
              <a:rPr lang="cs-CZ" dirty="0" smtClean="0"/>
              <a:t>březnu a dubnu dle </a:t>
            </a:r>
            <a:r>
              <a:rPr lang="cs-CZ" dirty="0"/>
              <a:t>typu testu </a:t>
            </a:r>
          </a:p>
        </p:txBody>
      </p:sp>
      <p:graphicFrame>
        <p:nvGraphicFramePr>
          <p:cNvPr id="21" name="Table 5">
            <a:extLst>
              <a:ext uri="{FF2B5EF4-FFF2-40B4-BE49-F238E27FC236}">
                <a16:creationId xmlns:a16="http://schemas.microsoft.com/office/drawing/2014/main" id="{3E2F7BC2-1FD0-43E1-9578-DF35EF4879C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/>
          </p:nvPr>
        </p:nvGraphicFramePr>
        <p:xfrm>
          <a:off x="6645935" y="1128746"/>
          <a:ext cx="5517490" cy="5683390"/>
        </p:xfrm>
        <a:graphic>
          <a:graphicData uri="http://schemas.openxmlformats.org/drawingml/2006/table">
            <a:tbl>
              <a:tblPr/>
              <a:tblGrid>
                <a:gridCol w="67729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45876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63650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430670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4.</a:t>
                      </a:r>
                      <a:r>
                        <a:rPr lang="cs-CZ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  <a:r>
                        <a:rPr lang="cs-CZ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4.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7 309 nově pozitivních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22 221 (81,4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12 452 (45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9 769 (35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5 088 (18,6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</a:t>
                      </a:r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mptomatičtí</a:t>
                      </a: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 = 2 780 (10,2%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308 (8,5%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792837" y="2296409"/>
            <a:ext cx="789063" cy="3914685"/>
            <a:chOff x="404159" y="1866838"/>
            <a:chExt cx="920978" cy="3351365"/>
          </a:xfrm>
        </p:grpSpPr>
        <p:cxnSp>
          <p:nvCxnSpPr>
            <p:cNvPr id="23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28" idx="2"/>
              <a:endCxn id="31" idx="2"/>
            </p:cNvCxnSpPr>
            <p:nvPr>
              <p:custDataLst>
                <p:tags r:id="rId11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35" idx="2"/>
              <a:endCxn id="29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35" idx="2"/>
              <a:endCxn id="30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31" idx="2"/>
              <a:endCxn id="32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31" idx="2"/>
              <a:endCxn id="33" idx="2"/>
            </p:cNvCxnSpPr>
            <p:nvPr>
              <p:custDataLst>
                <p:tags r:id="rId13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36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28" idx="2"/>
              <a:endCxn id="35" idx="2"/>
            </p:cNvCxnSpPr>
            <p:nvPr>
              <p:custDataLst>
                <p:tags r:id="rId15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Skupina 52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89122" y="2316688"/>
            <a:ext cx="789063" cy="3768253"/>
            <a:chOff x="404159" y="1866838"/>
            <a:chExt cx="920978" cy="3351365"/>
          </a:xfrm>
        </p:grpSpPr>
        <p:cxnSp>
          <p:nvCxnSpPr>
            <p:cNvPr id="54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59" idx="2"/>
              <a:endCxn id="62" idx="2"/>
            </p:cNvCxnSpPr>
            <p:nvPr>
              <p:custDataLst>
                <p:tags r:id="rId6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65" idx="2"/>
              <a:endCxn id="60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65" idx="2"/>
              <a:endCxn id="61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62" idx="2"/>
              <a:endCxn id="63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62" idx="2"/>
              <a:endCxn id="64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1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66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59" idx="2"/>
              <a:endCxn id="6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404159" y="1920837"/>
              <a:ext cx="332077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ovéPole 6"/>
          <p:cNvSpPr txBox="1"/>
          <p:nvPr/>
        </p:nvSpPr>
        <p:spPr>
          <a:xfrm>
            <a:off x="438150" y="790575"/>
            <a:ext cx="10696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é členění pozitivních záchytů dle typu testů je v čase stabilní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27022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831336"/>
            <a:ext cx="12192000" cy="1956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ůběh vakcinace k 11. 4. 202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ručný souhrn </a:t>
            </a: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ostupných dat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42886640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Zadávání dat o očkování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FD7B51-0CCF-4695-BA40-1F340C87D5BF}"/>
              </a:ext>
            </a:extLst>
          </p:cNvPr>
          <p:cNvSpPr txBox="1"/>
          <p:nvPr/>
        </p:nvSpPr>
        <p:spPr>
          <a:xfrm>
            <a:off x="6474745" y="6381300"/>
            <a:ext cx="28978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s alespoň 1 dávkou vakcín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B39307-4EF2-4A2A-AC89-D8C56FF8E1C7}"/>
              </a:ext>
            </a:extLst>
          </p:cNvPr>
          <p:cNvSpPr txBox="1"/>
          <p:nvPr/>
        </p:nvSpPr>
        <p:spPr>
          <a:xfrm>
            <a:off x="6475293" y="3088680"/>
            <a:ext cx="2435081" cy="733278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*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4 02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D51750-B367-46D1-9188-497DD32FA800}"/>
              </a:ext>
            </a:extLst>
          </p:cNvPr>
          <p:cNvSpPr txBox="1"/>
          <p:nvPr/>
        </p:nvSpPr>
        <p:spPr>
          <a:xfrm>
            <a:off x="9302537" y="3088681"/>
            <a:ext cx="2435081" cy="73327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ávk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657 796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568278" y="2703574"/>
            <a:ext cx="50150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irnaty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oNTech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facturing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mbH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13" name="TextBox 15">
            <a:extLst>
              <a:ext uri="{FF2B5EF4-FFF2-40B4-BE49-F238E27FC236}">
                <a16:creationId xmlns:a16="http://schemas.microsoft.com/office/drawing/2014/main" id="{244981E4-7974-43D4-948D-20A60F272BD4}"/>
              </a:ext>
            </a:extLst>
          </p:cNvPr>
          <p:cNvSpPr txBox="1"/>
          <p:nvPr/>
        </p:nvSpPr>
        <p:spPr>
          <a:xfrm>
            <a:off x="6475293" y="4294430"/>
            <a:ext cx="2435081" cy="733278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*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4 357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F7DADBF1-2B3D-478C-8402-4E893313CC1A}"/>
              </a:ext>
            </a:extLst>
          </p:cNvPr>
          <p:cNvSpPr txBox="1"/>
          <p:nvPr/>
        </p:nvSpPr>
        <p:spPr>
          <a:xfrm>
            <a:off x="9302537" y="4294431"/>
            <a:ext cx="2435081" cy="73327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ávk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9 804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F957A2B-D2B1-4750-90C5-F67217CD3EC7}"/>
              </a:ext>
            </a:extLst>
          </p:cNvPr>
          <p:cNvSpPr/>
          <p:nvPr/>
        </p:nvSpPr>
        <p:spPr>
          <a:xfrm>
            <a:off x="6568278" y="3928374"/>
            <a:ext cx="43781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ccine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oderna (Moderna)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4614" y="637799"/>
            <a:ext cx="1174917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o očkovaných jsou zadávána do nového modulu centrálního systému ISIN /Modul Očkování/, a to v reálném čase dle možností očkujících center a poskytovatelů  </a:t>
            </a:r>
          </a:p>
        </p:txBody>
      </p:sp>
      <p:sp>
        <p:nvSpPr>
          <p:cNvPr id="21" name="Šipka dolů 20"/>
          <p:cNvSpPr/>
          <p:nvPr/>
        </p:nvSpPr>
        <p:spPr>
          <a:xfrm>
            <a:off x="5275384" y="2175861"/>
            <a:ext cx="1327639" cy="4632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92A17D3C-0C2D-4013-948C-08F37662439B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363153" y="3000597"/>
            <a:ext cx="53535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dle hlášení center a MZ ČR k 11. 4. (20:00), korigováno dle dostupných podkladů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7CEDFB5E-4738-44FF-9FA7-0F069C7F6E3F}"/>
              </a:ext>
            </a:extLst>
          </p:cNvPr>
          <p:cNvSpPr txBox="1"/>
          <p:nvPr/>
        </p:nvSpPr>
        <p:spPr>
          <a:xfrm>
            <a:off x="335721" y="3833338"/>
            <a:ext cx="2435081" cy="1440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zadaných dávek očkování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89 570</a:t>
            </a:r>
          </a:p>
        </p:txBody>
      </p:sp>
      <p:sp>
        <p:nvSpPr>
          <p:cNvPr id="26" name="TextBox 17">
            <a:extLst>
              <a:ext uri="{FF2B5EF4-FFF2-40B4-BE49-F238E27FC236}">
                <a16:creationId xmlns:a16="http://schemas.microsoft.com/office/drawing/2014/main" id="{67B538C2-C372-4DF2-A732-D2EE645EE8F2}"/>
              </a:ext>
            </a:extLst>
          </p:cNvPr>
          <p:cNvSpPr txBox="1"/>
          <p:nvPr/>
        </p:nvSpPr>
        <p:spPr>
          <a:xfrm>
            <a:off x="3187739" y="3833338"/>
            <a:ext cx="2435081" cy="1440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zadaných osob se dvěma dávkami 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 765</a:t>
            </a:r>
          </a:p>
        </p:txBody>
      </p:sp>
      <p:sp>
        <p:nvSpPr>
          <p:cNvPr id="18" name="TextBox 15">
            <a:extLst>
              <a:ext uri="{FF2B5EF4-FFF2-40B4-BE49-F238E27FC236}">
                <a16:creationId xmlns:a16="http://schemas.microsoft.com/office/drawing/2014/main" id="{5405197D-6D69-4A10-8688-C2A9DC5960D5}"/>
              </a:ext>
            </a:extLst>
          </p:cNvPr>
          <p:cNvSpPr txBox="1"/>
          <p:nvPr/>
        </p:nvSpPr>
        <p:spPr>
          <a:xfrm>
            <a:off x="6474745" y="5505848"/>
            <a:ext cx="2435081" cy="733278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*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2 428</a:t>
            </a:r>
          </a:p>
        </p:txBody>
      </p:sp>
      <p:sp>
        <p:nvSpPr>
          <p:cNvPr id="25" name="TextBox 16">
            <a:extLst>
              <a:ext uri="{FF2B5EF4-FFF2-40B4-BE49-F238E27FC236}">
                <a16:creationId xmlns:a16="http://schemas.microsoft.com/office/drawing/2014/main" id="{08E03598-CD5A-4249-913E-AB2908F7F61B}"/>
              </a:ext>
            </a:extLst>
          </p:cNvPr>
          <p:cNvSpPr txBox="1"/>
          <p:nvPr/>
        </p:nvSpPr>
        <p:spPr>
          <a:xfrm>
            <a:off x="9301989" y="5505849"/>
            <a:ext cx="2435081" cy="73327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ávk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1 165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A666C0FE-0DFA-4AD2-B36B-1A5612D81DF9}"/>
              </a:ext>
            </a:extLst>
          </p:cNvPr>
          <p:cNvSpPr/>
          <p:nvPr/>
        </p:nvSpPr>
        <p:spPr>
          <a:xfrm>
            <a:off x="6567730" y="5139792"/>
            <a:ext cx="36129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ccine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traZeneca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926089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98D6D6AA-2277-43BF-AD50-E3132392CA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1668" y="576002"/>
            <a:ext cx="9468663" cy="6276227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933460" cy="576000"/>
          </a:xfrm>
        </p:spPr>
        <p:txBody>
          <a:bodyPr/>
          <a:lstStyle/>
          <a:p>
            <a:r>
              <a:rPr lang="cs-CZ" dirty="0"/>
              <a:t>Výkonost očkování v ČR</a:t>
            </a:r>
          </a:p>
        </p:txBody>
      </p:sp>
    </p:spTree>
    <p:extLst>
      <p:ext uri="{BB962C8B-B14F-4D97-AF65-F5344CB8AC3E}">
        <p14:creationId xmlns:p14="http://schemas.microsoft.com/office/powerpoint/2010/main" val="8614152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v ČR – dispečink 11. 4. 2021 20:00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D129B3-44B0-4D84-8059-AFC88DF8FF0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25519" y="781050"/>
          <a:ext cx="11690255" cy="5544934"/>
        </p:xfrm>
        <a:graphic>
          <a:graphicData uri="http://schemas.openxmlformats.org/drawingml/2006/table">
            <a:tbl>
              <a:tblPr/>
              <a:tblGrid>
                <a:gridCol w="2727231">
                  <a:extLst>
                    <a:ext uri="{9D8B030D-6E8A-4147-A177-3AD203B41FA5}">
                      <a16:colId xmlns:a16="http://schemas.microsoft.com/office/drawing/2014/main" val="295241979"/>
                    </a:ext>
                  </a:extLst>
                </a:gridCol>
                <a:gridCol w="1446084">
                  <a:extLst>
                    <a:ext uri="{9D8B030D-6E8A-4147-A177-3AD203B41FA5}">
                      <a16:colId xmlns:a16="http://schemas.microsoft.com/office/drawing/2014/main" val="3199132826"/>
                    </a:ext>
                  </a:extLst>
                </a:gridCol>
                <a:gridCol w="1503388">
                  <a:extLst>
                    <a:ext uri="{9D8B030D-6E8A-4147-A177-3AD203B41FA5}">
                      <a16:colId xmlns:a16="http://schemas.microsoft.com/office/drawing/2014/main" val="1562492817"/>
                    </a:ext>
                  </a:extLst>
                </a:gridCol>
                <a:gridCol w="1503388">
                  <a:extLst>
                    <a:ext uri="{9D8B030D-6E8A-4147-A177-3AD203B41FA5}">
                      <a16:colId xmlns:a16="http://schemas.microsoft.com/office/drawing/2014/main" val="924048211"/>
                    </a:ext>
                  </a:extLst>
                </a:gridCol>
                <a:gridCol w="1503388">
                  <a:extLst>
                    <a:ext uri="{9D8B030D-6E8A-4147-A177-3AD203B41FA5}">
                      <a16:colId xmlns:a16="http://schemas.microsoft.com/office/drawing/2014/main" val="1299034595"/>
                    </a:ext>
                  </a:extLst>
                </a:gridCol>
                <a:gridCol w="1503388">
                  <a:extLst>
                    <a:ext uri="{9D8B030D-6E8A-4147-A177-3AD203B41FA5}">
                      <a16:colId xmlns:a16="http://schemas.microsoft.com/office/drawing/2014/main" val="3496218229"/>
                    </a:ext>
                  </a:extLst>
                </a:gridCol>
                <a:gridCol w="1503388">
                  <a:extLst>
                    <a:ext uri="{9D8B030D-6E8A-4147-A177-3AD203B41FA5}">
                      <a16:colId xmlns:a16="http://schemas.microsoft.com/office/drawing/2014/main" val="4070186342"/>
                    </a:ext>
                  </a:extLst>
                </a:gridCol>
              </a:tblGrid>
              <a:tr h="46672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a více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–79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–69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–64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 60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5163499"/>
                  </a:ext>
                </a:extLst>
              </a:tr>
              <a:tr h="44106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pulace k 1. 1. 202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93 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1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1 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8 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1 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10 7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625941"/>
                  </a:ext>
                </a:extLst>
              </a:tr>
              <a:tr h="57964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strovaní, čekají na termín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522 177</a:t>
                      </a:r>
                      <a:b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4,8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61 544</a:t>
                      </a:r>
                      <a:b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13,9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218 918</a:t>
                      </a:r>
                      <a:b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21,6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71 788</a:t>
                      </a:r>
                      <a:b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10,5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37 822</a:t>
                      </a:r>
                      <a:b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5,8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132 105</a:t>
                      </a:r>
                      <a:b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1,6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7820135"/>
                  </a:ext>
                </a:extLst>
              </a:tr>
              <a:tr h="57964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- registrace na OČ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207 326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1,9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19 564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4,4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67 950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6,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17 788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2,6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14 609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2,2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87 415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1,1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2699749"/>
                  </a:ext>
                </a:extLst>
              </a:tr>
              <a:tr h="57964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- registrace u P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314 851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2,9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41 980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9,5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150 968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14,9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54 000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7,9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23 213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3,5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44 690</a:t>
                      </a:r>
                      <a:b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(0,5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5503020"/>
                  </a:ext>
                </a:extLst>
              </a:tr>
              <a:tr h="57964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 dirty="0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Mají rezervaci na očkov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156 432</a:t>
                      </a:r>
                      <a:b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(1,4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13 588</a:t>
                      </a:r>
                      <a:b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(3,0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76 440</a:t>
                      </a:r>
                      <a:b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(7,5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14 657</a:t>
                      </a:r>
                      <a:b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(2,1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9 555</a:t>
                      </a:r>
                      <a:b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(1,4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42 192</a:t>
                      </a:r>
                      <a:b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7030A0"/>
                          </a:solidFill>
                          <a:effectLst/>
                          <a:latin typeface="Arial" panose="020B0604020202020204" pitchFamily="34" charset="0"/>
                        </a:rPr>
                        <a:t>(0,5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9413322"/>
                  </a:ext>
                </a:extLst>
              </a:tr>
              <a:tr h="57964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Očkovaní 1.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652 040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6,1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78 511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17,8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331 252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32,7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43 755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6,4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9 757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4,5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168 765</a:t>
                      </a:r>
                      <a:b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0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2,1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42437983"/>
                  </a:ext>
                </a:extLst>
              </a:tr>
              <a:tr h="57964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Očkovaní 2.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718 765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6,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21 942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50,3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181 132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17,9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6 045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3,8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35 582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5,4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54 064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3,2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5571290"/>
                  </a:ext>
                </a:extLst>
              </a:tr>
              <a:tr h="57964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Očkovaní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1 370 805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12,8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300 453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68,1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512 384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50,6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69 800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10,2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65 339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10,0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422 829</a:t>
                      </a:r>
                      <a:b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(5,3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13717467"/>
                  </a:ext>
                </a:extLst>
              </a:tr>
              <a:tr h="57964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9 414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9,1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5 585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85,1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7 742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79,8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245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23,0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716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7,3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7 126</a:t>
                      </a:r>
                      <a:b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7,5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767979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0894F369-B0DF-42C4-9B35-682EA2A34035}"/>
              </a:ext>
            </a:extLst>
          </p:cNvPr>
          <p:cNvSpPr/>
          <p:nvPr/>
        </p:nvSpPr>
        <p:spPr>
          <a:xfrm>
            <a:off x="3190753" y="645957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</p:spTree>
    <p:extLst>
      <p:ext uri="{BB962C8B-B14F-4D97-AF65-F5344CB8AC3E}">
        <p14:creationId xmlns:p14="http://schemas.microsoft.com/office/powerpoint/2010/main" val="294725144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457867-BCFC-4FA9-A5A4-F973F2F93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čkování, objednávky a dodávky vakcín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ABE3C42C-B754-4C8E-9665-41AA38F0861D}"/>
              </a:ext>
            </a:extLst>
          </p:cNvPr>
          <p:cNvGraphicFramePr/>
          <p:nvPr>
            <p:extLst/>
          </p:nvPr>
        </p:nvGraphicFramePr>
        <p:xfrm>
          <a:off x="350544" y="868069"/>
          <a:ext cx="11284730" cy="58397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2C540E05-FC47-4BF7-A6BF-3CED1F9C8C6E}"/>
              </a:ext>
            </a:extLst>
          </p:cNvPr>
          <p:cNvSpPr/>
          <p:nvPr/>
        </p:nvSpPr>
        <p:spPr>
          <a:xfrm>
            <a:off x="11118500" y="5073948"/>
            <a:ext cx="830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18 765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5A57F42A-493C-42D9-BE22-6E5AF156DA7C}"/>
              </a:ext>
            </a:extLst>
          </p:cNvPr>
          <p:cNvSpPr/>
          <p:nvPr/>
        </p:nvSpPr>
        <p:spPr>
          <a:xfrm>
            <a:off x="11118500" y="3242238"/>
            <a:ext cx="9797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370 805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9C3AFCBF-93DD-4BCE-A1B5-74BE018F4B70}"/>
              </a:ext>
            </a:extLst>
          </p:cNvPr>
          <p:cNvSpPr/>
          <p:nvPr/>
        </p:nvSpPr>
        <p:spPr>
          <a:xfrm>
            <a:off x="11115563" y="1765479"/>
            <a:ext cx="9797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089 570</a:t>
            </a:r>
          </a:p>
        </p:txBody>
      </p:sp>
      <p:sp>
        <p:nvSpPr>
          <p:cNvPr id="7" name="TextovéPole 1">
            <a:extLst>
              <a:ext uri="{FF2B5EF4-FFF2-40B4-BE49-F238E27FC236}">
                <a16:creationId xmlns:a16="http://schemas.microsoft.com/office/drawing/2014/main" id="{50BACDFB-8FCB-4E29-BAA0-B5FBA5E85967}"/>
              </a:ext>
            </a:extLst>
          </p:cNvPr>
          <p:cNvSpPr txBox="1"/>
          <p:nvPr/>
        </p:nvSpPr>
        <p:spPr>
          <a:xfrm>
            <a:off x="11049172" y="1105093"/>
            <a:ext cx="1099359" cy="30781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690923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354 150</a:t>
            </a:r>
          </a:p>
        </p:txBody>
      </p:sp>
    </p:spTree>
    <p:extLst>
      <p:ext uri="{BB962C8B-B14F-4D97-AF65-F5344CB8AC3E}">
        <p14:creationId xmlns:p14="http://schemas.microsoft.com/office/powerpoint/2010/main" val="424121907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400" dirty="0"/>
              <a:t>Očkování praktických lékař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66718" y="1011288"/>
            <a:ext cx="1118940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očkování se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ě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pojují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čtí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 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573840" y="1699234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66718" y="2369785"/>
            <a:ext cx="1096745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centrální databáze je více než 72 % samostatných ordinací praktických lékařů zapojeno a registruje osoby k očkování.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čtí lékaři podali více než 269 000 dávek očkování </a:t>
            </a: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registrují celkem více než 501 000 osob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registrovaných tvoří cca 16 % senioři 80+ a 54 % senioři ve věkové kategorii 70–79 let, zbývajících 30 % představují chroničtí pacienti do 70 let. </a:t>
            </a:r>
          </a:p>
        </p:txBody>
      </p:sp>
      <p:sp>
        <p:nvSpPr>
          <p:cNvPr id="8" name="Šipka dolů 7"/>
          <p:cNvSpPr/>
          <p:nvPr/>
        </p:nvSpPr>
        <p:spPr>
          <a:xfrm>
            <a:off x="5579136" y="6155437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10196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925561E7-00B5-420C-8F07-6AED19C9547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105649" y="2124868"/>
          <a:ext cx="4810125" cy="4428330"/>
        </p:xfrm>
        <a:graphic>
          <a:graphicData uri="http://schemas.openxmlformats.org/drawingml/2006/table">
            <a:tbl>
              <a:tblPr/>
              <a:tblGrid>
                <a:gridCol w="1603375">
                  <a:extLst>
                    <a:ext uri="{9D8B030D-6E8A-4147-A177-3AD203B41FA5}">
                      <a16:colId xmlns:a16="http://schemas.microsoft.com/office/drawing/2014/main" val="690912107"/>
                    </a:ext>
                  </a:extLst>
                </a:gridCol>
                <a:gridCol w="1603375">
                  <a:extLst>
                    <a:ext uri="{9D8B030D-6E8A-4147-A177-3AD203B41FA5}">
                      <a16:colId xmlns:a16="http://schemas.microsoft.com/office/drawing/2014/main" val="866389850"/>
                    </a:ext>
                  </a:extLst>
                </a:gridCol>
                <a:gridCol w="1603375">
                  <a:extLst>
                    <a:ext uri="{9D8B030D-6E8A-4147-A177-3AD203B41FA5}">
                      <a16:colId xmlns:a16="http://schemas.microsoft.com/office/drawing/2014/main" val="1942756754"/>
                    </a:ext>
                  </a:extLst>
                </a:gridCol>
              </a:tblGrid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8206976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C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4384198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9174445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713523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01290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011897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633905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629844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64227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D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5330684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D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88072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806859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3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983694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51711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679813"/>
                  </a:ext>
                </a:extLst>
              </a:tr>
            </a:tbl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053A483-DC0E-47F1-B499-367773CBBFF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95750" y="2115343"/>
          <a:ext cx="1219200" cy="4437855"/>
        </p:xfrm>
        <a:graphic>
          <a:graphicData uri="http://schemas.openxmlformats.org/drawingml/2006/table">
            <a:tbl>
              <a:tblPr/>
              <a:tblGrid>
                <a:gridCol w="1219200">
                  <a:extLst>
                    <a:ext uri="{9D8B030D-6E8A-4147-A177-3AD203B41FA5}">
                      <a16:colId xmlns:a16="http://schemas.microsoft.com/office/drawing/2014/main" val="171843091"/>
                    </a:ext>
                  </a:extLst>
                </a:gridCol>
              </a:tblGrid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959251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D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406942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B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986138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6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100632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37396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8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663870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6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871998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C8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612683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6885629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C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04947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F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987452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CC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6046076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21773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D6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600098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B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24825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u praktických lékařů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819774" y="102272"/>
            <a:ext cx="2143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A8EE1B97-C1E4-4950-859F-0220BC695F2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6225" y="775888"/>
          <a:ext cx="11639550" cy="577731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955011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419420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2114354">
                  <a:extLst>
                    <a:ext uri="{9D8B030D-6E8A-4147-A177-3AD203B41FA5}">
                      <a16:colId xmlns:a16="http://schemas.microsoft.com/office/drawing/2014/main" val="694546854"/>
                    </a:ext>
                  </a:extLst>
                </a:gridCol>
                <a:gridCol w="1343025">
                  <a:extLst>
                    <a:ext uri="{9D8B030D-6E8A-4147-A177-3AD203B41FA5}">
                      <a16:colId xmlns:a16="http://schemas.microsoft.com/office/drawing/2014/main" val="2436361455"/>
                    </a:ext>
                  </a:extLst>
                </a:gridCol>
                <a:gridCol w="1602580">
                  <a:extLst>
                    <a:ext uri="{9D8B030D-6E8A-4147-A177-3AD203B41FA5}">
                      <a16:colId xmlns:a16="http://schemas.microsoft.com/office/drawing/2014/main" val="3949225402"/>
                    </a:ext>
                  </a:extLst>
                </a:gridCol>
                <a:gridCol w="1602580">
                  <a:extLst>
                    <a:ext uri="{9D8B030D-6E8A-4147-A177-3AD203B41FA5}">
                      <a16:colId xmlns:a16="http://schemas.microsoft.com/office/drawing/2014/main" val="779270720"/>
                    </a:ext>
                  </a:extLst>
                </a:gridCol>
                <a:gridCol w="1602580">
                  <a:extLst>
                    <a:ext uri="{9D8B030D-6E8A-4147-A177-3AD203B41FA5}">
                      <a16:colId xmlns:a16="http://schemas.microsoft.com/office/drawing/2014/main" val="2198972229"/>
                    </a:ext>
                  </a:extLst>
                </a:gridCol>
              </a:tblGrid>
              <a:tr h="675756">
                <a:tc rowSpan="2">
                  <a:txBody>
                    <a:bodyPr/>
                    <a:lstStyle/>
                    <a:p>
                      <a:pPr algn="l" fontAlgn="b"/>
                      <a:endParaRPr lang="cs-CZ" sz="1400" b="1" i="0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mostatné ordinace praktického lékaře pro dospělé</a:t>
                      </a:r>
                      <a:endParaRPr lang="cs-CZ" sz="1400" b="1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podaných dávek v samostatných ordinacích praktického lékaře pro dospělé od 28.2.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5346014"/>
                  </a:ext>
                </a:extLst>
              </a:tr>
              <a:tr h="670677">
                <a:tc vMerge="1"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ordinací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ordinací s registrovanými osobami k očkov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dávek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 80+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 70-79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 do 70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4 (6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7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2 (1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67 (4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15 (3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9 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5 (1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08 (6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2 (1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  <a:latin typeface="+mn-lt"/>
                        </a:rPr>
                        <a:t>Jihoče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 (6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9 (2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65 (4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6 (1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  <a:latin typeface="+mn-lt"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 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0 (1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39 (5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6 (2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8 (1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0 (5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5 (1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  <a:latin typeface="+mn-lt"/>
                        </a:rPr>
                        <a:t>Ústec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 (6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9 (1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13 (5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8 (2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6 (2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60 (4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7 (2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7 (1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35 (5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8 (1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 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9 (2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22 (5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7 (1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 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4 (2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62 (6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6 (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0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81 (1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943 (6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4 (1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3 (1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10 (6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0 (1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 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57 (2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85 (5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4 (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8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10 (1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98 (5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3 (2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4 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 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030 (1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977 (5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121 (1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8D00FA8F-7BC8-452E-A9D0-4B9FF6F5E1C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19274046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ČR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vrzuje zpomalení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1364154" flipV="1">
            <a:off x="10033903" y="4426524"/>
            <a:ext cx="1270004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8">
            <a:extLst>
              <a:ext uri="{FF2B5EF4-FFF2-40B4-BE49-F238E27FC236}">
                <a16:creationId xmlns:a16="http://schemas.microsoft.com/office/drawing/2014/main" id="{4B7574F6-7368-4B63-81DB-F6EAC02F30A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7157" y="1134143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2.–3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</a:t>
                      </a:r>
                      <a:r>
                        <a:rPr lang="cs-CZ" sz="16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–10. 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02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3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52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1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,4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,2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1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5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3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02FE6BCD-B160-4DEB-82CC-D4CDD287F607}"/>
              </a:ext>
            </a:extLst>
          </p:cNvPr>
          <p:cNvSpPr/>
          <p:nvPr/>
        </p:nvSpPr>
        <p:spPr>
          <a:xfrm>
            <a:off x="120345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E87C39AF-5DBF-4112-A008-28FE61C7D806}"/>
              </a:ext>
            </a:extLst>
          </p:cNvPr>
          <p:cNvSpPr/>
          <p:nvPr/>
        </p:nvSpPr>
        <p:spPr>
          <a:xfrm>
            <a:off x="3172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9A04A270-7187-4E15-B7EC-383522621181}"/>
              </a:ext>
            </a:extLst>
          </p:cNvPr>
          <p:cNvSpPr/>
          <p:nvPr/>
        </p:nvSpPr>
        <p:spPr>
          <a:xfrm>
            <a:off x="5116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35647ED1-6EF9-4788-866E-E82C5C053706}"/>
              </a:ext>
            </a:extLst>
          </p:cNvPr>
          <p:cNvSpPr/>
          <p:nvPr/>
        </p:nvSpPr>
        <p:spPr>
          <a:xfrm>
            <a:off x="708628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BEB8EDC1-DE8F-4A9A-B5D7-4664DBC21F67}"/>
              </a:ext>
            </a:extLst>
          </p:cNvPr>
          <p:cNvSpPr/>
          <p:nvPr/>
        </p:nvSpPr>
        <p:spPr>
          <a:xfrm>
            <a:off x="9056914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63056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400" dirty="0"/>
              <a:t>Přehled dle místa bydliště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11117" y="779609"/>
            <a:ext cx="1118940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plikovaných dávek očkování se liší mezi kraji, nicméně rozdíly se postupně vyrovnávají, zejména při hodnoc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místa bydliště očkovaného. 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449173" y="2657157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82999" y="3340327"/>
            <a:ext cx="1149606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cca 71 % všech dávek bylo v Praze aplikováno u obyvatel Prahy; cca 18 % konzumovali obyvatelé Středočeského kraje, 2,1 % obyvatelé Ústeckého kraje a 1,2 % obyvatelé Jihočeského kraje. Obdobně, byť v menším rozsahu proběhla i částečná migrace obyvatel moravských krajů a Vysočiny za očkováním v JMK. Migrace mezi kraji jsou vzájemné a probíhají zejména v geograficky sousedících oblastech, např. 5 % všech dávek podaných v STČ bylo aplikováno obyvatelům Prahy. Za vakcinací do jiného kraje nejvíce míří obyvatelé STČ (26 %), Pardubického kraje (14 %) a Kraje Vysočina (10 %).</a:t>
            </a:r>
          </a:p>
        </p:txBody>
      </p:sp>
    </p:spTree>
    <p:extLst>
      <p:ext uri="{BB962C8B-B14F-4D97-AF65-F5344CB8AC3E}">
        <p14:creationId xmlns:p14="http://schemas.microsoft.com/office/powerpoint/2010/main" val="52037649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bydliště</a:t>
            </a:r>
            <a:r>
              <a:rPr lang="cs-CZ" dirty="0"/>
              <a:t>)</a:t>
            </a:r>
          </a:p>
        </p:txBody>
      </p:sp>
      <p:sp>
        <p:nvSpPr>
          <p:cNvPr id="99" name="TextBox 6">
            <a:extLst>
              <a:ext uri="{FF2B5EF4-FFF2-40B4-BE49-F238E27FC236}">
                <a16:creationId xmlns:a16="http://schemas.microsoft.com/office/drawing/2014/main" id="{73476168-D2D4-4361-B47E-C7DC4CD0CECD}"/>
              </a:ext>
            </a:extLst>
          </p:cNvPr>
          <p:cNvSpPr txBox="1"/>
          <p:nvPr/>
        </p:nvSpPr>
        <p:spPr>
          <a:xfrm>
            <a:off x="5810250" y="99623"/>
            <a:ext cx="2388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992" y="622180"/>
            <a:ext cx="11727180" cy="619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11465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 regionech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B8D22A3B-2947-4885-8B7A-E28FC2A0AB45}"/>
              </a:ext>
            </a:extLst>
          </p:cNvPr>
          <p:cNvSpPr txBox="1"/>
          <p:nvPr/>
        </p:nvSpPr>
        <p:spPr>
          <a:xfrm>
            <a:off x="5438200" y="103334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292" y="647700"/>
            <a:ext cx="11955780" cy="621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2643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dle vybraných skupin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44417" y="676552"/>
            <a:ext cx="106826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naprosté většině aplikací sleduje stanovené prioritní skupiny, nově začíná narůstat podíl očkovaných seniorů ve věku 70 – 79 let a pracovníků ve školství. 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403461" y="2162099"/>
            <a:ext cx="1164566" cy="5038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42875" y="2906933"/>
            <a:ext cx="11813565" cy="1815882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očkování zdravotničtí pracovníci (18,7 % celku), klienti a pracovníci sociálních služeb (8,7 %), pracovníci kritické infrastruktury (2,3 %), pracovníci ve školství (8,7 %), senioři 70-79 let (30,6 %), senioři 80+ (21,9 %) </a:t>
            </a:r>
            <a:r>
              <a:rPr kumimoji="0" lang="pl-PL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chronicky nemocní (2,7 %)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 </a:t>
            </a:r>
          </a:p>
        </p:txBody>
      </p:sp>
      <p:sp>
        <p:nvSpPr>
          <p:cNvPr id="24" name="Šipka dolů 23"/>
          <p:cNvSpPr/>
          <p:nvPr/>
        </p:nvSpPr>
        <p:spPr>
          <a:xfrm>
            <a:off x="5403461" y="6049587"/>
            <a:ext cx="1164566" cy="5038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83185" y="4900695"/>
            <a:ext cx="114960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bývajících cca 6,4 % osob středního až velmi mladého věku (</a:t>
            </a: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8 393 osob / 79 153 vakcinací 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ladších 29 let) jsou většinou medici, studenti či dobrovolníci pracující na odběrných místech a jinde ve zdravotnictví při péči o COVID+ pacienty, nebo v sociálních službách  </a:t>
            </a:r>
          </a:p>
        </p:txBody>
      </p:sp>
    </p:spTree>
    <p:extLst>
      <p:ext uri="{BB962C8B-B14F-4D97-AF65-F5344CB8AC3E}">
        <p14:creationId xmlns:p14="http://schemas.microsoft.com/office/powerpoint/2010/main" val="347708396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200" dirty="0"/>
              <a:t>Registrace a očkování u </a:t>
            </a:r>
            <a:r>
              <a:rPr lang="cs-CZ" sz="2200" dirty="0" err="1"/>
              <a:t>seniorních</a:t>
            </a:r>
            <a:r>
              <a:rPr lang="cs-CZ" sz="2200" dirty="0"/>
              <a:t> skupin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712177" y="731058"/>
            <a:ext cx="1068265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nior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kupiny byly očkovány již z prvních dodaných dávek vakcín </a:t>
            </a: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irnaty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Moderna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F7DADBF1-2B3D-478C-8402-4E893313CC1A}"/>
              </a:ext>
            </a:extLst>
          </p:cNvPr>
          <p:cNvSpPr txBox="1"/>
          <p:nvPr/>
        </p:nvSpPr>
        <p:spPr>
          <a:xfrm>
            <a:off x="6879656" y="2749972"/>
            <a:ext cx="3372175" cy="1090221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453 osob ve věk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+ let</a:t>
            </a: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7CEDFB5E-4738-44FF-9FA7-0F069C7F6E3F}"/>
              </a:ext>
            </a:extLst>
          </p:cNvPr>
          <p:cNvSpPr txBox="1"/>
          <p:nvPr/>
        </p:nvSpPr>
        <p:spPr>
          <a:xfrm>
            <a:off x="1621856" y="2749971"/>
            <a:ext cx="3372175" cy="1090222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12 384 osob ve věku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–79 let 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881976" y="2138317"/>
            <a:ext cx="80811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11. 4. 2021 evidujeme vykázaná očkování u: 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5202684" y="2957003"/>
            <a:ext cx="1468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  <a:endParaRPr kumimoji="0" lang="en-US" sz="36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83768" y="1695877"/>
            <a:ext cx="1104181" cy="33341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" name="Přímá spojnice 10"/>
          <p:cNvCxnSpPr>
            <a:cxnSpLocks/>
          </p:cNvCxnSpPr>
          <p:nvPr/>
        </p:nvCxnSpPr>
        <p:spPr>
          <a:xfrm flipV="1">
            <a:off x="655606" y="4157575"/>
            <a:ext cx="1054579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7922499" y="4747581"/>
            <a:ext cx="40813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o je nyní cca 68,1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 osob ve věku 80+</a:t>
            </a:r>
          </a:p>
        </p:txBody>
      </p:sp>
      <p:sp>
        <p:nvSpPr>
          <p:cNvPr id="19" name="Šipka dolů 18"/>
          <p:cNvSpPr/>
          <p:nvPr/>
        </p:nvSpPr>
        <p:spPr>
          <a:xfrm>
            <a:off x="7060694" y="4092838"/>
            <a:ext cx="592322" cy="119138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Šipka dolů 20"/>
          <p:cNvSpPr/>
          <p:nvPr/>
        </p:nvSpPr>
        <p:spPr>
          <a:xfrm rot="19022330">
            <a:off x="7977106" y="4023011"/>
            <a:ext cx="592322" cy="68651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A4592EEB-B11D-4263-AE36-20F0065CF9A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143460" y="5626716"/>
          <a:ext cx="4477039" cy="1000452"/>
        </p:xfrm>
        <a:graphic>
          <a:graphicData uri="http://schemas.openxmlformats.org/drawingml/2006/table">
            <a:tbl>
              <a:tblPr/>
              <a:tblGrid>
                <a:gridCol w="1543340">
                  <a:extLst>
                    <a:ext uri="{9D8B030D-6E8A-4147-A177-3AD203B41FA5}">
                      <a16:colId xmlns:a16="http://schemas.microsoft.com/office/drawing/2014/main" val="2462205960"/>
                    </a:ext>
                  </a:extLst>
                </a:gridCol>
                <a:gridCol w="2933699">
                  <a:extLst>
                    <a:ext uri="{9D8B030D-6E8A-4147-A177-3AD203B41FA5}">
                      <a16:colId xmlns:a16="http://schemas.microsoft.com/office/drawing/2014/main" val="1646315195"/>
                    </a:ext>
                  </a:extLst>
                </a:gridCol>
              </a:tblGrid>
              <a:tr h="3334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strace: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544 (13,9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6408794"/>
                  </a:ext>
                </a:extLst>
              </a:tr>
              <a:tr h="3334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zervace: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88 (3,0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2083634"/>
                  </a:ext>
                </a:extLst>
              </a:tr>
              <a:tr h="3334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EM: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5 585 (85,1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9091512"/>
                  </a:ext>
                </a:extLst>
              </a:tr>
            </a:tbl>
          </a:graphicData>
        </a:graphic>
      </p:graphicFrame>
      <p:graphicFrame>
        <p:nvGraphicFramePr>
          <p:cNvPr id="26" name="Tabulka 25">
            <a:extLst>
              <a:ext uri="{FF2B5EF4-FFF2-40B4-BE49-F238E27FC236}">
                <a16:creationId xmlns:a16="http://schemas.microsoft.com/office/drawing/2014/main" id="{BF126831-D47B-4FB1-892A-0C750AA3EDB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035928" y="5626716"/>
          <a:ext cx="4477039" cy="1000452"/>
        </p:xfrm>
        <a:graphic>
          <a:graphicData uri="http://schemas.openxmlformats.org/drawingml/2006/table">
            <a:tbl>
              <a:tblPr/>
              <a:tblGrid>
                <a:gridCol w="1574047">
                  <a:extLst>
                    <a:ext uri="{9D8B030D-6E8A-4147-A177-3AD203B41FA5}">
                      <a16:colId xmlns:a16="http://schemas.microsoft.com/office/drawing/2014/main" val="2462205960"/>
                    </a:ext>
                  </a:extLst>
                </a:gridCol>
                <a:gridCol w="2902992">
                  <a:extLst>
                    <a:ext uri="{9D8B030D-6E8A-4147-A177-3AD203B41FA5}">
                      <a16:colId xmlns:a16="http://schemas.microsoft.com/office/drawing/2014/main" val="1646315195"/>
                    </a:ext>
                  </a:extLst>
                </a:gridCol>
              </a:tblGrid>
              <a:tr h="3334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strace: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918 (21,6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6408794"/>
                  </a:ext>
                </a:extLst>
              </a:tr>
              <a:tr h="3334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zervace: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440 (7,5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2083634"/>
                  </a:ext>
                </a:extLst>
              </a:tr>
              <a:tr h="3334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EM: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7 742 (79,8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9091512"/>
                  </a:ext>
                </a:extLst>
              </a:tr>
            </a:tbl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B541245D-1D06-434D-978B-F6132ED533BD}"/>
              </a:ext>
            </a:extLst>
          </p:cNvPr>
          <p:cNvSpPr/>
          <p:nvPr/>
        </p:nvSpPr>
        <p:spPr>
          <a:xfrm>
            <a:off x="102474" y="4747581"/>
            <a:ext cx="40813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o je nyní cca 50,7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 osob ve věku 70–79 let</a:t>
            </a:r>
          </a:p>
        </p:txBody>
      </p:sp>
      <p:sp>
        <p:nvSpPr>
          <p:cNvPr id="28" name="Šipka dolů 18">
            <a:extLst>
              <a:ext uri="{FF2B5EF4-FFF2-40B4-BE49-F238E27FC236}">
                <a16:creationId xmlns:a16="http://schemas.microsoft.com/office/drawing/2014/main" id="{9CD0B51E-F01E-45A3-A8BD-A3CA4AE9C3A6}"/>
              </a:ext>
            </a:extLst>
          </p:cNvPr>
          <p:cNvSpPr/>
          <p:nvPr/>
        </p:nvSpPr>
        <p:spPr>
          <a:xfrm>
            <a:off x="4274448" y="4092488"/>
            <a:ext cx="592322" cy="119138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Šipka dolů 20">
            <a:extLst>
              <a:ext uri="{FF2B5EF4-FFF2-40B4-BE49-F238E27FC236}">
                <a16:creationId xmlns:a16="http://schemas.microsoft.com/office/drawing/2014/main" id="{148627C1-5205-4E50-994E-25BD8642006A}"/>
              </a:ext>
            </a:extLst>
          </p:cNvPr>
          <p:cNvSpPr/>
          <p:nvPr/>
        </p:nvSpPr>
        <p:spPr>
          <a:xfrm rot="2577670" flipH="1">
            <a:off x="3392880" y="4023011"/>
            <a:ext cx="592322" cy="68651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004691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Prioritní skupiny pro očkování – aplikované dávky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211899" y="3171829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/>
          </p:nvPr>
        </p:nvGraphicFramePr>
        <p:xfrm>
          <a:off x="561974" y="759913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332022" y="999808"/>
          <a:ext cx="2731706" cy="4392003"/>
        </p:xfrm>
        <a:graphic>
          <a:graphicData uri="http://schemas.openxmlformats.org/drawingml/2006/table">
            <a:tbl>
              <a:tblPr/>
              <a:tblGrid>
                <a:gridCol w="1967061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764645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70-79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3 5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80+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2 3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dravotničtí pracovníci / ochrana veřejného zdraví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 3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a klienti v sociálních službá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 9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15959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9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06629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ve škols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3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45733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ronicky nemoc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7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989975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442835BF-F101-4F84-B183-D210FFF048AE}"/>
              </a:ext>
            </a:extLst>
          </p:cNvPr>
          <p:cNvSpPr/>
          <p:nvPr/>
        </p:nvSpPr>
        <p:spPr>
          <a:xfrm>
            <a:off x="9186460" y="5448273"/>
            <a:ext cx="27629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racovníci kritické infrastruktury a ostatní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148991881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CDC7E674-FB94-409E-9BE4-96C1CBB7786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81275" y="1435258"/>
          <a:ext cx="9120042" cy="4968592"/>
        </p:xfrm>
        <a:graphic>
          <a:graphicData uri="http://schemas.openxmlformats.org/drawingml/2006/table">
            <a:tbl>
              <a:tblPr/>
              <a:tblGrid>
                <a:gridCol w="1520007">
                  <a:extLst>
                    <a:ext uri="{9D8B030D-6E8A-4147-A177-3AD203B41FA5}">
                      <a16:colId xmlns:a16="http://schemas.microsoft.com/office/drawing/2014/main" val="1119421243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2533387029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2002977043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1356177775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1206029451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3634740830"/>
                    </a:ext>
                  </a:extLst>
                </a:gridCol>
              </a:tblGrid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057977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E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9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030319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CC8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51984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E2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E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72396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E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E1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222103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F0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425411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6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8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252667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E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E2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814530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D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A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563440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3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B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3512745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F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E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288878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E6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9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398676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E5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916058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E4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531964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017784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E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E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54688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80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druhou dávkou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80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80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9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5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6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5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6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1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 4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9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80+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5952550" y="103334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80+ aplikováno 522 395 dávek, z toho 221 942 jsou dávky druhé v pořadí 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79169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458ED8AA-F6F0-4DCC-9C2E-8D9718D380D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81276" y="1444784"/>
          <a:ext cx="9120036" cy="4959072"/>
        </p:xfrm>
        <a:graphic>
          <a:graphicData uri="http://schemas.openxmlformats.org/drawingml/2006/table">
            <a:tbl>
              <a:tblPr/>
              <a:tblGrid>
                <a:gridCol w="1520006">
                  <a:extLst>
                    <a:ext uri="{9D8B030D-6E8A-4147-A177-3AD203B41FA5}">
                      <a16:colId xmlns:a16="http://schemas.microsoft.com/office/drawing/2014/main" val="101495127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2311961393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3954089966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1830008494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3184998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1383641486"/>
                    </a:ext>
                  </a:extLst>
                </a:gridCol>
              </a:tblGrid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D2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05232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E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D1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406250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E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C0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4841563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E7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E3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455007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092196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236627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7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A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F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513364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E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253028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EB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B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255256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E3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C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386871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E7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D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7495576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9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426286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E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919477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F5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D0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8774860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6091040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8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58451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70-79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druhou dávkou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70-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70-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 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7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0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5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3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8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8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9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1 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2 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70–79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5952550" y="103334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70-79 let aplikováno 693 516 dávek, z toho 181 132 jsou dávky druhé v pořadí 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31262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831336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klad efektu 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70047763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profesních kategoriích zdravotnických pracovníků dosahuje populačně viditelné úrovně 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449172" y="176292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49599" y="2255948"/>
            <a:ext cx="1191857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je dosažena zejména v nemocnicích akutní lůžkové péče (lékaři 78 %, sestry 64 %, ostatní ZP 63 %). Celkem je alespoň jednou dávkou naočkováno 92 779 zdravotnických pracovníků v nemocnicích / ZZS a 121 232 ostatních pracovníků ve zdravotnictví a v oblasti ochrany veřejného zdraví. U zdravotnických pracovníků je také vysoký počet osob s očkováním ukončeným oběma dávkami (82 265 ZP v nemocnicích / ZZS a 94 059 ostatní ZP a pracovníci ochrany veřejného zdraví)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449172" y="4641810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4" y="5126257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těchto profesních kategoriích podstatně snížilo denní počet registrovaných nových nákaz 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449172" y="6260625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0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extLst/>
          </p:nvPr>
        </p:nvGraphicFramePr>
        <p:xfrm>
          <a:off x="1392507" y="1221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196429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/>
        </p:nvSpPr>
        <p:spPr>
          <a:xfrm>
            <a:off x="1958329" y="1352836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E8EB343B-FF9D-4901-9D18-93F29BAC2468}"/>
              </a:ext>
            </a:extLst>
          </p:cNvPr>
          <p:cNvCxnSpPr>
            <a:cxnSpLocks/>
          </p:cNvCxnSpPr>
          <p:nvPr/>
        </p:nvCxnSpPr>
        <p:spPr>
          <a:xfrm>
            <a:off x="2433470" y="1829508"/>
            <a:ext cx="0" cy="129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/>
        </p:nvSpPr>
        <p:spPr>
          <a:xfrm>
            <a:off x="5759032" y="1611163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/>
        </p:nvSpPr>
        <p:spPr>
          <a:xfrm>
            <a:off x="2949255" y="1868454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. a 2. třídách, přípravných třídách a  speciálních, mateřských školách a praktických školách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FF670A9-C78E-4ED3-A53F-0C6026BEF7F3}"/>
              </a:ext>
            </a:extLst>
          </p:cNvPr>
          <p:cNvCxnSpPr>
            <a:cxnSpLocks/>
          </p:cNvCxnSpPr>
          <p:nvPr/>
        </p:nvCxnSpPr>
        <p:spPr>
          <a:xfrm>
            <a:off x="3091890" y="2446644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7478935" y="2033374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, </a:t>
            </a:r>
            <a:r>
              <a:rPr kumimoji="0" lang="cs-CZ" sz="2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četně malých dětí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24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10. 4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7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25815" y="370259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808757" y="353332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 denní klouzavý průmě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25815" y="399787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433612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206359943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nahlášených do NZIS (Národní registr zdravotnických pracovníků – NRZP) poskytovateli zdravotních služeb jako aktivní v období od 1.12.2020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261916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3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8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9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4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0 0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2 3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3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089456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/>
          </p:nvPr>
        </p:nvGraphicFramePr>
        <p:xfrm>
          <a:off x="38711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81579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098826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95885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četně zubních lékařů)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/>
          </p:nvPr>
        </p:nvGraphicFramePr>
        <p:xfrm>
          <a:off x="6213649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56517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1210544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6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70823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*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Sestry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4. 2021</a:t>
            </a:r>
          </a:p>
        </p:txBody>
      </p:sp>
    </p:spTree>
    <p:extLst>
      <p:ext uri="{BB962C8B-B14F-4D97-AF65-F5344CB8AC3E}">
        <p14:creationId xmlns:p14="http://schemas.microsoft.com/office/powerpoint/2010/main" val="218206231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4842" y="2467672"/>
            <a:ext cx="11537512" cy="765055"/>
          </a:xfrm>
        </p:spPr>
        <p:txBody>
          <a:bodyPr>
            <a:noAutofit/>
          </a:bodyPr>
          <a:lstStyle/>
          <a:p>
            <a:r>
              <a:rPr lang="cs-CZ" sz="6000" b="1" dirty="0"/>
              <a:t>DĚKUJI ZA POZORNOST </a:t>
            </a:r>
          </a:p>
        </p:txBody>
      </p:sp>
    </p:spTree>
    <p:extLst>
      <p:ext uri="{BB962C8B-B14F-4D97-AF65-F5344CB8AC3E}">
        <p14:creationId xmlns:p14="http://schemas.microsoft.com/office/powerpoint/2010/main" val="2599808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extLst/>
          </p:nvPr>
        </p:nvGraphicFramePr>
        <p:xfrm>
          <a:off x="1392507" y="1221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196429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, </a:t>
            </a:r>
            <a:r>
              <a:rPr kumimoji="0" lang="cs-CZ" sz="2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četně seniorů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8730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098" y="624840"/>
            <a:ext cx="11452860" cy="6233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8003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16" y="1490633"/>
            <a:ext cx="11452860" cy="5280660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A097BF6-68A1-4D50-803F-482D0AA07F45}"/>
              </a:ext>
            </a:extLst>
          </p:cNvPr>
          <p:cNvSpPr txBox="1"/>
          <p:nvPr/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epidemiologické indikac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průkazný indikátor zpomalování šíření epidemie</a:t>
            </a:r>
          </a:p>
        </p:txBody>
      </p:sp>
      <p:graphicFrame>
        <p:nvGraphicFramePr>
          <p:cNvPr id="11" name="Table 13">
            <a:extLst>
              <a:ext uri="{FF2B5EF4-FFF2-40B4-BE49-F238E27FC236}">
                <a16:creationId xmlns:a16="http://schemas.microsoft.com/office/drawing/2014/main" id="{D0F198ED-9E23-4737-93AE-8B162461815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470575" y="557234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78297" y="2684353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2165147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11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12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1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82</TotalTime>
  <Words>7131</Words>
  <Application>Microsoft Office PowerPoint</Application>
  <PresentationFormat>Širokoúhlá obrazovka</PresentationFormat>
  <Paragraphs>1516</Paragraphs>
  <Slides>63</Slides>
  <Notes>25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2</vt:i4>
      </vt:variant>
      <vt:variant>
        <vt:lpstr>Nadpisy snímků</vt:lpstr>
      </vt:variant>
      <vt:variant>
        <vt:i4>63</vt:i4>
      </vt:variant>
    </vt:vector>
  </HeadingPairs>
  <TitlesOfParts>
    <vt:vector size="82" baseType="lpstr">
      <vt:lpstr>Arial</vt:lpstr>
      <vt:lpstr>Arial (Základní text)</vt:lpstr>
      <vt:lpstr>Arial Black</vt:lpstr>
      <vt:lpstr>Calibri</vt:lpstr>
      <vt:lpstr>Calibri Light</vt:lpstr>
      <vt:lpstr>Segoe UI</vt:lpstr>
      <vt:lpstr>Wingdings</vt:lpstr>
      <vt:lpstr>Motiv Office</vt:lpstr>
      <vt:lpstr>1_Motiv systému Office</vt:lpstr>
      <vt:lpstr>Office Theme</vt:lpstr>
      <vt:lpstr>8_Motiv Office</vt:lpstr>
      <vt:lpstr>7_Motiv Office</vt:lpstr>
      <vt:lpstr>9_Motiv Office</vt:lpstr>
      <vt:lpstr>4_Motiv Office</vt:lpstr>
      <vt:lpstr>1_Motiv Office</vt:lpstr>
      <vt:lpstr>2_Office Theme</vt:lpstr>
      <vt:lpstr>5_Motiv Office</vt:lpstr>
      <vt:lpstr>3_Motiv Office</vt:lpstr>
      <vt:lpstr>2_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očty nově diagnostikovaných pacientů: týdenní vývoj v ČR</vt:lpstr>
      <vt:lpstr>Počty COVID-19 pozitivních v ČR na 100 000 v populaci</vt:lpstr>
      <vt:lpstr>Počty COVID-19 pozitivních v ČR na 100 000 v populaci</vt:lpstr>
      <vt:lpstr>Podíl pozitivních testů: diagnostické a klinické indikace </vt:lpstr>
      <vt:lpstr>Podíl pozitivních testů: epidemiologické indikace</vt:lpstr>
      <vt:lpstr>Prezentace aplikace PowerPoint</vt:lpstr>
      <vt:lpstr>14 denní počet nových případů (na 100 000 obyv.) v ORP – časový vývoj</vt:lpstr>
      <vt:lpstr>14 denní počet nových případů (na 100 000 obyv.) v ORP</vt:lpstr>
      <vt:lpstr>14denní incidence na 100 tisíc obyvatel</vt:lpstr>
      <vt:lpstr>14denní incidence na 100 tisíc obyvatel</vt:lpstr>
      <vt:lpstr>Datová a informační základna  pro management pandemie COVID-19</vt:lpstr>
      <vt:lpstr>Prezentace aplikace PowerPoint</vt:lpstr>
      <vt:lpstr>Vývoj vybraných epidemiologických charakteristik k 1.4.2021</vt:lpstr>
      <vt:lpstr>Počty nově diagnostikovaných pacientů: týdenní vývoj v ZLK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 Aktuální počty hospitalizovaných pacientů klesají a roste i dostupná kapacita lůžek, včetně JIP</vt:lpstr>
      <vt:lpstr>Národní dispečink lůžkové péč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Scénáře dlouhodobých simulací z 5. 3. 2021</vt:lpstr>
      <vt:lpstr>Predikovaný počet aktuálně hospitalizovaných</vt:lpstr>
      <vt:lpstr>Predikovaný počet aktuálně hospitalizovaných na JIP</vt:lpstr>
      <vt:lpstr>Prezentace aplikace PowerPoint</vt:lpstr>
      <vt:lpstr>Prezentace aplikace PowerPoint</vt:lpstr>
      <vt:lpstr>Schéma stavového modelu SEIRV pro dlouhodobé simulace  s dopadem očkování</vt:lpstr>
      <vt:lpstr>Prezentace aplikace PowerPoint</vt:lpstr>
      <vt:lpstr>Prezentace aplikace PowerPoint</vt:lpstr>
      <vt:lpstr>Datová a informační základna  pro management pandemie COVID-19</vt:lpstr>
      <vt:lpstr>Vývoj celkového počtu AG testů</vt:lpstr>
      <vt:lpstr>Počet provedených a vykázaných PCR testů v ČR 1. 2. – 8. 4. 2021</vt:lpstr>
      <vt:lpstr>Prezentace aplikace PowerPoint</vt:lpstr>
      <vt:lpstr>Počty pozitivních případů nově diagnostikovaných v březnu a dubnu dle typu testu </vt:lpstr>
      <vt:lpstr>Počty pozitivních případů nově diagnostikovaných v březnu a dubnu dle typu testu </vt:lpstr>
      <vt:lpstr>Prezentace aplikace PowerPoint</vt:lpstr>
      <vt:lpstr>Zadávání dat o očkování</vt:lpstr>
      <vt:lpstr>Výkonost očkování v ČR</vt:lpstr>
      <vt:lpstr>Stav očkování v ČR – dispečink 11. 4. 2021 20:00</vt:lpstr>
      <vt:lpstr>Očkování, objednávky a dodávky vakcín</vt:lpstr>
      <vt:lpstr>Očkování praktických lékařů </vt:lpstr>
      <vt:lpstr>Vakcinace u praktických lékařů</vt:lpstr>
      <vt:lpstr>Přehled dle místa bydliště</vt:lpstr>
      <vt:lpstr>Očkovaní v krajích (podle místa bydliště)</vt:lpstr>
      <vt:lpstr>Vakcinace po regionech</vt:lpstr>
      <vt:lpstr>Očkovaní dle vybraných skupin </vt:lpstr>
      <vt:lpstr>Registrace a očkování u seniorních skupin </vt:lpstr>
      <vt:lpstr>Prioritní skupiny pro očkování – aplikované dávky v čase</vt:lpstr>
      <vt:lpstr>Očkovaní 80+ let – přehled podle regionů</vt:lpstr>
      <vt:lpstr>Očkovaní 70–79 let – přehled podle regionů</vt:lpstr>
      <vt:lpstr>Prezentace aplikace PowerPoint</vt:lpstr>
      <vt:lpstr>Očkování zdravotnických pracovníků </vt:lpstr>
      <vt:lpstr>Počty pracovníků ve zdravotnictví s nákazou COVID-19</vt:lpstr>
      <vt:lpstr>Očkovaní aktivní zdravotničtí pracovníci</vt:lpstr>
      <vt:lpstr>Očkovaní zdravotníci v nemocnicích akutní lůžkové péče a ZZS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699</cp:revision>
  <dcterms:created xsi:type="dcterms:W3CDTF">2020-03-16T10:06:11Z</dcterms:created>
  <dcterms:modified xsi:type="dcterms:W3CDTF">2021-04-13T05:53:26Z</dcterms:modified>
</cp:coreProperties>
</file>